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ink/ink1.xml" ContentType="application/inkml+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96" r:id="rId6"/>
    <p:sldMasterId id="2147483711" r:id="rId7"/>
    <p:sldMasterId id="2147483717" r:id="rId8"/>
    <p:sldMasterId id="2147483728" r:id="rId9"/>
  </p:sldMasterIdLst>
  <p:notesMasterIdLst>
    <p:notesMasterId r:id="rId67"/>
  </p:notesMasterIdLst>
  <p:sldIdLst>
    <p:sldId id="256" r:id="rId10"/>
    <p:sldId id="329" r:id="rId11"/>
    <p:sldId id="257" r:id="rId12"/>
    <p:sldId id="258" r:id="rId13"/>
    <p:sldId id="260" r:id="rId14"/>
    <p:sldId id="261" r:id="rId15"/>
    <p:sldId id="262" r:id="rId16"/>
    <p:sldId id="259" r:id="rId17"/>
    <p:sldId id="263" r:id="rId18"/>
    <p:sldId id="264" r:id="rId19"/>
    <p:sldId id="265" r:id="rId20"/>
    <p:sldId id="266" r:id="rId21"/>
    <p:sldId id="267" r:id="rId22"/>
    <p:sldId id="268" r:id="rId23"/>
    <p:sldId id="10588" r:id="rId24"/>
    <p:sldId id="269" r:id="rId25"/>
    <p:sldId id="270" r:id="rId26"/>
    <p:sldId id="271" r:id="rId27"/>
    <p:sldId id="272" r:id="rId28"/>
    <p:sldId id="273" r:id="rId29"/>
    <p:sldId id="274" r:id="rId30"/>
    <p:sldId id="9921" r:id="rId31"/>
    <p:sldId id="275" r:id="rId32"/>
    <p:sldId id="524" r:id="rId33"/>
    <p:sldId id="525" r:id="rId34"/>
    <p:sldId id="526" r:id="rId35"/>
    <p:sldId id="527" r:id="rId36"/>
    <p:sldId id="528" r:id="rId37"/>
    <p:sldId id="2076138124" r:id="rId38"/>
    <p:sldId id="2076138117" r:id="rId39"/>
    <p:sldId id="2076138118" r:id="rId40"/>
    <p:sldId id="2076138119" r:id="rId41"/>
    <p:sldId id="2076138120" r:id="rId42"/>
    <p:sldId id="2076138121" r:id="rId43"/>
    <p:sldId id="2076138184" r:id="rId44"/>
    <p:sldId id="2076138185" r:id="rId45"/>
    <p:sldId id="276" r:id="rId46"/>
    <p:sldId id="277" r:id="rId47"/>
    <p:sldId id="278" r:id="rId48"/>
    <p:sldId id="279" r:id="rId49"/>
    <p:sldId id="280" r:id="rId50"/>
    <p:sldId id="281" r:id="rId51"/>
    <p:sldId id="282" r:id="rId52"/>
    <p:sldId id="2076138113" r:id="rId53"/>
    <p:sldId id="2076138114" r:id="rId54"/>
    <p:sldId id="2076138186" r:id="rId55"/>
    <p:sldId id="284" r:id="rId56"/>
    <p:sldId id="283" r:id="rId57"/>
    <p:sldId id="9923" r:id="rId58"/>
    <p:sldId id="2076138115" r:id="rId59"/>
    <p:sldId id="9922" r:id="rId60"/>
    <p:sldId id="9924" r:id="rId61"/>
    <p:sldId id="285" r:id="rId62"/>
    <p:sldId id="286" r:id="rId63"/>
    <p:sldId id="287" r:id="rId64"/>
    <p:sldId id="2076138190" r:id="rId65"/>
    <p:sldId id="2076138107"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631CE2-F41E-4507-A8E6-DC77C1E81A16}" vWet="4" dt="2021-06-09T16:48:05.176"/>
    <p1510:client id="{8F27AB47-687C-4D7D-BF0F-011417EDBCF6}" v="156" dt="2021-06-09T18:57:05.8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00" autoAdjust="0"/>
    <p:restoredTop sz="94249" autoAdjust="0"/>
  </p:normalViewPr>
  <p:slideViewPr>
    <p:cSldViewPr snapToGrid="0">
      <p:cViewPr varScale="1">
        <p:scale>
          <a:sx n="114" d="100"/>
          <a:sy n="114" d="100"/>
        </p:scale>
        <p:origin x="115" y="2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5" Type="http://schemas.openxmlformats.org/officeDocument/2006/relationships/slideMaster" Target="slideMasters/slideMaster1.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viewProps" Target="viewProps.xml"/><Relationship Id="rId8" Type="http://schemas.openxmlformats.org/officeDocument/2006/relationships/slideMaster" Target="slideMasters/slideMaster4.xml"/><Relationship Id="rId51" Type="http://schemas.openxmlformats.org/officeDocument/2006/relationships/slide" Target="slides/slide42.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notesMaster" Target="notesMasters/notes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 Type="http://schemas.openxmlformats.org/officeDocument/2006/relationships/slideMaster" Target="slideMasters/slideMaster3.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hai Tataran" userId="36298dfa-a822-4774-91a5-83a5a2d3db2e" providerId="ADAL" clId="{8F27AB47-687C-4D7D-BF0F-011417EDBCF6}"/>
    <pc:docChg chg="undo redo custSel addSld delSld modSld sldOrd">
      <pc:chgData name="Mihai Tataran" userId="36298dfa-a822-4774-91a5-83a5a2d3db2e" providerId="ADAL" clId="{8F27AB47-687C-4D7D-BF0F-011417EDBCF6}" dt="2021-06-09T18:57:05.871" v="2128" actId="20577"/>
      <pc:docMkLst>
        <pc:docMk/>
      </pc:docMkLst>
      <pc:sldChg chg="modSp mod">
        <pc:chgData name="Mihai Tataran" userId="36298dfa-a822-4774-91a5-83a5a2d3db2e" providerId="ADAL" clId="{8F27AB47-687C-4D7D-BF0F-011417EDBCF6}" dt="2021-06-07T10:26:55.455" v="101" actId="404"/>
        <pc:sldMkLst>
          <pc:docMk/>
          <pc:sldMk cId="2200025703" sldId="256"/>
        </pc:sldMkLst>
        <pc:spChg chg="mod">
          <ac:chgData name="Mihai Tataran" userId="36298dfa-a822-4774-91a5-83a5a2d3db2e" providerId="ADAL" clId="{8F27AB47-687C-4D7D-BF0F-011417EDBCF6}" dt="2021-06-07T10:26:38.853" v="95" actId="207"/>
          <ac:spMkLst>
            <pc:docMk/>
            <pc:sldMk cId="2200025703" sldId="256"/>
            <ac:spMk id="2" creationId="{9CCB297F-BC7D-4520-8883-6FD4A1EC3092}"/>
          </ac:spMkLst>
        </pc:spChg>
        <pc:spChg chg="mod">
          <ac:chgData name="Mihai Tataran" userId="36298dfa-a822-4774-91a5-83a5a2d3db2e" providerId="ADAL" clId="{8F27AB47-687C-4D7D-BF0F-011417EDBCF6}" dt="2021-06-07T10:26:55.455" v="101" actId="404"/>
          <ac:spMkLst>
            <pc:docMk/>
            <pc:sldMk cId="2200025703" sldId="256"/>
            <ac:spMk id="4" creationId="{97653635-A7DE-4943-86D8-C24BFE598132}"/>
          </ac:spMkLst>
        </pc:spChg>
      </pc:sldChg>
      <pc:sldChg chg="modSp mod">
        <pc:chgData name="Mihai Tataran" userId="36298dfa-a822-4774-91a5-83a5a2d3db2e" providerId="ADAL" clId="{8F27AB47-687C-4D7D-BF0F-011417EDBCF6}" dt="2021-06-09T14:49:25.122" v="1912" actId="255"/>
        <pc:sldMkLst>
          <pc:docMk/>
          <pc:sldMk cId="440551373" sldId="257"/>
        </pc:sldMkLst>
        <pc:graphicFrameChg chg="mod modGraphic">
          <ac:chgData name="Mihai Tataran" userId="36298dfa-a822-4774-91a5-83a5a2d3db2e" providerId="ADAL" clId="{8F27AB47-687C-4D7D-BF0F-011417EDBCF6}" dt="2021-06-09T14:49:25.122" v="1912" actId="255"/>
          <ac:graphicFrameMkLst>
            <pc:docMk/>
            <pc:sldMk cId="440551373" sldId="257"/>
            <ac:graphicFrameMk id="4" creationId="{AFC3C217-596D-4BC0-BD8E-C7D82856DD4B}"/>
          </ac:graphicFrameMkLst>
        </pc:graphicFrameChg>
      </pc:sldChg>
      <pc:sldChg chg="delSp mod">
        <pc:chgData name="Mihai Tataran" userId="36298dfa-a822-4774-91a5-83a5a2d3db2e" providerId="ADAL" clId="{8F27AB47-687C-4D7D-BF0F-011417EDBCF6}" dt="2021-06-09T14:49:46.886" v="1913" actId="478"/>
        <pc:sldMkLst>
          <pc:docMk/>
          <pc:sldMk cId="274347746" sldId="260"/>
        </pc:sldMkLst>
        <pc:spChg chg="del">
          <ac:chgData name="Mihai Tataran" userId="36298dfa-a822-4774-91a5-83a5a2d3db2e" providerId="ADAL" clId="{8F27AB47-687C-4D7D-BF0F-011417EDBCF6}" dt="2021-06-09T14:49:46.886" v="1913" actId="478"/>
          <ac:spMkLst>
            <pc:docMk/>
            <pc:sldMk cId="274347746" sldId="260"/>
            <ac:spMk id="3" creationId="{ABDFCF3E-A066-4611-86D8-F2C9B25D72E1}"/>
          </ac:spMkLst>
        </pc:spChg>
      </pc:sldChg>
      <pc:sldChg chg="delSp modSp mod">
        <pc:chgData name="Mihai Tataran" userId="36298dfa-a822-4774-91a5-83a5a2d3db2e" providerId="ADAL" clId="{8F27AB47-687C-4D7D-BF0F-011417EDBCF6}" dt="2021-06-09T14:50:08.181" v="1915" actId="14100"/>
        <pc:sldMkLst>
          <pc:docMk/>
          <pc:sldMk cId="2959474900" sldId="261"/>
        </pc:sldMkLst>
        <pc:spChg chg="del">
          <ac:chgData name="Mihai Tataran" userId="36298dfa-a822-4774-91a5-83a5a2d3db2e" providerId="ADAL" clId="{8F27AB47-687C-4D7D-BF0F-011417EDBCF6}" dt="2021-06-09T14:50:03.111" v="1914" actId="478"/>
          <ac:spMkLst>
            <pc:docMk/>
            <pc:sldMk cId="2959474900" sldId="261"/>
            <ac:spMk id="3" creationId="{41643F0A-0F97-4E2C-8530-68CA8EF903F6}"/>
          </ac:spMkLst>
        </pc:spChg>
        <pc:picChg chg="mod">
          <ac:chgData name="Mihai Tataran" userId="36298dfa-a822-4774-91a5-83a5a2d3db2e" providerId="ADAL" clId="{8F27AB47-687C-4D7D-BF0F-011417EDBCF6}" dt="2021-06-09T14:50:08.181" v="1915" actId="14100"/>
          <ac:picMkLst>
            <pc:docMk/>
            <pc:sldMk cId="2959474900" sldId="261"/>
            <ac:picMk id="4" creationId="{90EF4CA9-1F58-44BF-B651-6394BA535BC2}"/>
          </ac:picMkLst>
        </pc:picChg>
      </pc:sldChg>
      <pc:sldChg chg="modSp mod">
        <pc:chgData name="Mihai Tataran" userId="36298dfa-a822-4774-91a5-83a5a2d3db2e" providerId="ADAL" clId="{8F27AB47-687C-4D7D-BF0F-011417EDBCF6}" dt="2021-06-09T16:49:28.489" v="2107" actId="20577"/>
        <pc:sldMkLst>
          <pc:docMk/>
          <pc:sldMk cId="1025161724" sldId="265"/>
        </pc:sldMkLst>
        <pc:spChg chg="mod">
          <ac:chgData name="Mihai Tataran" userId="36298dfa-a822-4774-91a5-83a5a2d3db2e" providerId="ADAL" clId="{8F27AB47-687C-4D7D-BF0F-011417EDBCF6}" dt="2021-06-09T16:49:28.489" v="2107" actId="20577"/>
          <ac:spMkLst>
            <pc:docMk/>
            <pc:sldMk cId="1025161724" sldId="265"/>
            <ac:spMk id="3" creationId="{AFC158A3-ADB7-4357-9B3D-1F97E115D47A}"/>
          </ac:spMkLst>
        </pc:spChg>
      </pc:sldChg>
      <pc:sldChg chg="modSp mod">
        <pc:chgData name="Mihai Tataran" userId="36298dfa-a822-4774-91a5-83a5a2d3db2e" providerId="ADAL" clId="{8F27AB47-687C-4D7D-BF0F-011417EDBCF6}" dt="2021-06-09T14:52:27.439" v="1962" actId="20577"/>
        <pc:sldMkLst>
          <pc:docMk/>
          <pc:sldMk cId="2992447068" sldId="268"/>
        </pc:sldMkLst>
        <pc:graphicFrameChg chg="mod modGraphic">
          <ac:chgData name="Mihai Tataran" userId="36298dfa-a822-4774-91a5-83a5a2d3db2e" providerId="ADAL" clId="{8F27AB47-687C-4D7D-BF0F-011417EDBCF6}" dt="2021-06-09T14:52:27.439" v="1962" actId="20577"/>
          <ac:graphicFrameMkLst>
            <pc:docMk/>
            <pc:sldMk cId="2992447068" sldId="268"/>
            <ac:graphicFrameMk id="4" creationId="{537E1665-1863-4167-8E89-0CD589300885}"/>
          </ac:graphicFrameMkLst>
        </pc:graphicFrameChg>
      </pc:sldChg>
      <pc:sldChg chg="modSp mod">
        <pc:chgData name="Mihai Tataran" userId="36298dfa-a822-4774-91a5-83a5a2d3db2e" providerId="ADAL" clId="{8F27AB47-687C-4D7D-BF0F-011417EDBCF6}" dt="2021-06-09T14:10:45.448" v="1606" actId="20577"/>
        <pc:sldMkLst>
          <pc:docMk/>
          <pc:sldMk cId="1435690234" sldId="274"/>
        </pc:sldMkLst>
        <pc:graphicFrameChg chg="mod modGraphic">
          <ac:chgData name="Mihai Tataran" userId="36298dfa-a822-4774-91a5-83a5a2d3db2e" providerId="ADAL" clId="{8F27AB47-687C-4D7D-BF0F-011417EDBCF6}" dt="2021-06-09T14:10:45.448" v="1606" actId="20577"/>
          <ac:graphicFrameMkLst>
            <pc:docMk/>
            <pc:sldMk cId="1435690234" sldId="274"/>
            <ac:graphicFrameMk id="3" creationId="{947A1083-B2F9-4D58-A28D-47C6CE8FB56D}"/>
          </ac:graphicFrameMkLst>
        </pc:graphicFrameChg>
      </pc:sldChg>
      <pc:sldChg chg="modSp mod">
        <pc:chgData name="Mihai Tataran" userId="36298dfa-a822-4774-91a5-83a5a2d3db2e" providerId="ADAL" clId="{8F27AB47-687C-4D7D-BF0F-011417EDBCF6}" dt="2021-06-09T14:38:21.647" v="1775" actId="313"/>
        <pc:sldMkLst>
          <pc:docMk/>
          <pc:sldMk cId="1639643286" sldId="277"/>
        </pc:sldMkLst>
        <pc:spChg chg="mod">
          <ac:chgData name="Mihai Tataran" userId="36298dfa-a822-4774-91a5-83a5a2d3db2e" providerId="ADAL" clId="{8F27AB47-687C-4D7D-BF0F-011417EDBCF6}" dt="2021-06-09T14:38:21.647" v="1775" actId="313"/>
          <ac:spMkLst>
            <pc:docMk/>
            <pc:sldMk cId="1639643286" sldId="277"/>
            <ac:spMk id="3" creationId="{6C89F4D8-13C2-40BD-B1EE-6F8C20A0D483}"/>
          </ac:spMkLst>
        </pc:spChg>
      </pc:sldChg>
      <pc:sldChg chg="modSp mod">
        <pc:chgData name="Mihai Tataran" userId="36298dfa-a822-4774-91a5-83a5a2d3db2e" providerId="ADAL" clId="{8F27AB47-687C-4D7D-BF0F-011417EDBCF6}" dt="2021-06-09T14:30:22.065" v="1681" actId="20577"/>
        <pc:sldMkLst>
          <pc:docMk/>
          <pc:sldMk cId="3519727209" sldId="278"/>
        </pc:sldMkLst>
        <pc:spChg chg="mod">
          <ac:chgData name="Mihai Tataran" userId="36298dfa-a822-4774-91a5-83a5a2d3db2e" providerId="ADAL" clId="{8F27AB47-687C-4D7D-BF0F-011417EDBCF6}" dt="2021-06-09T14:30:22.065" v="1681" actId="20577"/>
          <ac:spMkLst>
            <pc:docMk/>
            <pc:sldMk cId="3519727209" sldId="278"/>
            <ac:spMk id="3" creationId="{3CD87647-E56F-4CFE-A092-2468585FA35C}"/>
          </ac:spMkLst>
        </pc:spChg>
      </pc:sldChg>
      <pc:sldChg chg="delSp modSp add mod modClrScheme chgLayout">
        <pc:chgData name="Mihai Tataran" userId="36298dfa-a822-4774-91a5-83a5a2d3db2e" providerId="ADAL" clId="{8F27AB47-687C-4D7D-BF0F-011417EDBCF6}" dt="2021-06-09T14:57:29.275" v="1996" actId="14100"/>
        <pc:sldMkLst>
          <pc:docMk/>
          <pc:sldMk cId="1090697889" sldId="329"/>
        </pc:sldMkLst>
        <pc:spChg chg="mod ord">
          <ac:chgData name="Mihai Tataran" userId="36298dfa-a822-4774-91a5-83a5a2d3db2e" providerId="ADAL" clId="{8F27AB47-687C-4D7D-BF0F-011417EDBCF6}" dt="2021-06-09T14:57:12.041" v="1994" actId="27636"/>
          <ac:spMkLst>
            <pc:docMk/>
            <pc:sldMk cId="1090697889" sldId="329"/>
            <ac:spMk id="2" creationId="{00000000-0000-0000-0000-000000000000}"/>
          </ac:spMkLst>
        </pc:spChg>
        <pc:spChg chg="mod ord">
          <ac:chgData name="Mihai Tataran" userId="36298dfa-a822-4774-91a5-83a5a2d3db2e" providerId="ADAL" clId="{8F27AB47-687C-4D7D-BF0F-011417EDBCF6}" dt="2021-06-09T14:57:29.275" v="1996" actId="14100"/>
          <ac:spMkLst>
            <pc:docMk/>
            <pc:sldMk cId="1090697889" sldId="329"/>
            <ac:spMk id="3" creationId="{00000000-0000-0000-0000-000000000000}"/>
          </ac:spMkLst>
        </pc:spChg>
        <pc:spChg chg="del mod">
          <ac:chgData name="Mihai Tataran" userId="36298dfa-a822-4774-91a5-83a5a2d3db2e" providerId="ADAL" clId="{8F27AB47-687C-4D7D-BF0F-011417EDBCF6}" dt="2021-06-09T14:57:12.024" v="1993" actId="700"/>
          <ac:spMkLst>
            <pc:docMk/>
            <pc:sldMk cId="1090697889" sldId="329"/>
            <ac:spMk id="10" creationId="{8033F1F9-48CC-42EF-9AD2-A80220E443FE}"/>
          </ac:spMkLst>
        </pc:spChg>
      </pc:sldChg>
      <pc:sldChg chg="add">
        <pc:chgData name="Mihai Tataran" userId="36298dfa-a822-4774-91a5-83a5a2d3db2e" providerId="ADAL" clId="{8F27AB47-687C-4D7D-BF0F-011417EDBCF6}" dt="2021-06-09T05:18:48.008" v="379" actId="22"/>
        <pc:sldMkLst>
          <pc:docMk/>
          <pc:sldMk cId="1078601600" sldId="524"/>
        </pc:sldMkLst>
      </pc:sldChg>
      <pc:sldChg chg="add">
        <pc:chgData name="Mihai Tataran" userId="36298dfa-a822-4774-91a5-83a5a2d3db2e" providerId="ADAL" clId="{8F27AB47-687C-4D7D-BF0F-011417EDBCF6}" dt="2021-06-09T05:18:48.008" v="379" actId="22"/>
        <pc:sldMkLst>
          <pc:docMk/>
          <pc:sldMk cId="2762625120" sldId="525"/>
        </pc:sldMkLst>
      </pc:sldChg>
      <pc:sldChg chg="modSp add mod">
        <pc:chgData name="Mihai Tataran" userId="36298dfa-a822-4774-91a5-83a5a2d3db2e" providerId="ADAL" clId="{8F27AB47-687C-4D7D-BF0F-011417EDBCF6}" dt="2021-06-09T05:23:44.556" v="496" actId="20577"/>
        <pc:sldMkLst>
          <pc:docMk/>
          <pc:sldMk cId="4162262680" sldId="526"/>
        </pc:sldMkLst>
        <pc:spChg chg="mod">
          <ac:chgData name="Mihai Tataran" userId="36298dfa-a822-4774-91a5-83a5a2d3db2e" providerId="ADAL" clId="{8F27AB47-687C-4D7D-BF0F-011417EDBCF6}" dt="2021-06-09T05:23:44.556" v="496" actId="20577"/>
          <ac:spMkLst>
            <pc:docMk/>
            <pc:sldMk cId="4162262680" sldId="526"/>
            <ac:spMk id="2" creationId="{00000000-0000-0000-0000-000000000000}"/>
          </ac:spMkLst>
        </pc:spChg>
      </pc:sldChg>
      <pc:sldChg chg="add">
        <pc:chgData name="Mihai Tataran" userId="36298dfa-a822-4774-91a5-83a5a2d3db2e" providerId="ADAL" clId="{8F27AB47-687C-4D7D-BF0F-011417EDBCF6}" dt="2021-06-09T05:23:23.520" v="464" actId="22"/>
        <pc:sldMkLst>
          <pc:docMk/>
          <pc:sldMk cId="1387749744" sldId="527"/>
        </pc:sldMkLst>
      </pc:sldChg>
      <pc:sldChg chg="modSp add mod">
        <pc:chgData name="Mihai Tataran" userId="36298dfa-a822-4774-91a5-83a5a2d3db2e" providerId="ADAL" clId="{8F27AB47-687C-4D7D-BF0F-011417EDBCF6}" dt="2021-06-09T05:28:38.432" v="518" actId="20577"/>
        <pc:sldMkLst>
          <pc:docMk/>
          <pc:sldMk cId="2877532976" sldId="528"/>
        </pc:sldMkLst>
        <pc:spChg chg="mod">
          <ac:chgData name="Mihai Tataran" userId="36298dfa-a822-4774-91a5-83a5a2d3db2e" providerId="ADAL" clId="{8F27AB47-687C-4D7D-BF0F-011417EDBCF6}" dt="2021-06-09T05:28:38.432" v="518" actId="20577"/>
          <ac:spMkLst>
            <pc:docMk/>
            <pc:sldMk cId="2877532976" sldId="528"/>
            <ac:spMk id="3" creationId="{00000000-0000-0000-0000-000000000000}"/>
          </ac:spMkLst>
        </pc:spChg>
      </pc:sldChg>
      <pc:sldChg chg="addSp delSp modSp add mod">
        <pc:chgData name="Mihai Tataran" userId="36298dfa-a822-4774-91a5-83a5a2d3db2e" providerId="ADAL" clId="{8F27AB47-687C-4D7D-BF0F-011417EDBCF6}" dt="2021-06-09T05:22:13.477" v="463"/>
        <pc:sldMkLst>
          <pc:docMk/>
          <pc:sldMk cId="3739505304" sldId="9921"/>
        </pc:sldMkLst>
        <pc:spChg chg="mod">
          <ac:chgData name="Mihai Tataran" userId="36298dfa-a822-4774-91a5-83a5a2d3db2e" providerId="ADAL" clId="{8F27AB47-687C-4D7D-BF0F-011417EDBCF6}" dt="2021-06-09T05:21:13.018" v="387" actId="1076"/>
          <ac:spMkLst>
            <pc:docMk/>
            <pc:sldMk cId="3739505304" sldId="9921"/>
            <ac:spMk id="181" creationId="{74C7FF9F-1140-44F6-B0F7-2D9EFF402859}"/>
          </ac:spMkLst>
        </pc:spChg>
        <pc:spChg chg="mod">
          <ac:chgData name="Mihai Tataran" userId="36298dfa-a822-4774-91a5-83a5a2d3db2e" providerId="ADAL" clId="{8F27AB47-687C-4D7D-BF0F-011417EDBCF6}" dt="2021-06-09T05:21:29.894" v="450" actId="1037"/>
          <ac:spMkLst>
            <pc:docMk/>
            <pc:sldMk cId="3739505304" sldId="9921"/>
            <ac:spMk id="183" creationId="{1DCAA2F7-32FF-4132-9D11-85E9CE8F5B9F}"/>
          </ac:spMkLst>
        </pc:spChg>
        <pc:spChg chg="mod">
          <ac:chgData name="Mihai Tataran" userId="36298dfa-a822-4774-91a5-83a5a2d3db2e" providerId="ADAL" clId="{8F27AB47-687C-4D7D-BF0F-011417EDBCF6}" dt="2021-06-09T05:21:23.935" v="445" actId="1038"/>
          <ac:spMkLst>
            <pc:docMk/>
            <pc:sldMk cId="3739505304" sldId="9921"/>
            <ac:spMk id="184" creationId="{79D9B4D7-8CB4-47E1-8A12-32BC59E03C1A}"/>
          </ac:spMkLst>
        </pc:spChg>
        <pc:spChg chg="mod">
          <ac:chgData name="Mihai Tataran" userId="36298dfa-a822-4774-91a5-83a5a2d3db2e" providerId="ADAL" clId="{8F27AB47-687C-4D7D-BF0F-011417EDBCF6}" dt="2021-06-09T05:20:22.430" v="381" actId="207"/>
          <ac:spMkLst>
            <pc:docMk/>
            <pc:sldMk cId="3739505304" sldId="9921"/>
            <ac:spMk id="218" creationId="{6AED1E1F-B4E4-4B26-8F94-B5E04FBE0029}"/>
          </ac:spMkLst>
        </pc:spChg>
        <pc:spChg chg="del mod">
          <ac:chgData name="Mihai Tataran" userId="36298dfa-a822-4774-91a5-83a5a2d3db2e" providerId="ADAL" clId="{8F27AB47-687C-4D7D-BF0F-011417EDBCF6}" dt="2021-06-09T05:21:50.713" v="462" actId="478"/>
          <ac:spMkLst>
            <pc:docMk/>
            <pc:sldMk cId="3739505304" sldId="9921"/>
            <ac:spMk id="220" creationId="{D54A5576-22FD-4D09-876D-2011AA11302C}"/>
          </ac:spMkLst>
        </pc:spChg>
        <pc:spChg chg="mod">
          <ac:chgData name="Mihai Tataran" userId="36298dfa-a822-4774-91a5-83a5a2d3db2e" providerId="ADAL" clId="{8F27AB47-687C-4D7D-BF0F-011417EDBCF6}" dt="2021-06-09T05:20:30.096" v="382" actId="207"/>
          <ac:spMkLst>
            <pc:docMk/>
            <pc:sldMk cId="3739505304" sldId="9921"/>
            <ac:spMk id="235" creationId="{A86F173E-432E-453F-A335-93B3FD7D45A2}"/>
          </ac:spMkLst>
        </pc:spChg>
        <pc:spChg chg="mod">
          <ac:chgData name="Mihai Tataran" userId="36298dfa-a822-4774-91a5-83a5a2d3db2e" providerId="ADAL" clId="{8F27AB47-687C-4D7D-BF0F-011417EDBCF6}" dt="2021-06-09T05:21:34.658" v="460" actId="1037"/>
          <ac:spMkLst>
            <pc:docMk/>
            <pc:sldMk cId="3739505304" sldId="9921"/>
            <ac:spMk id="644" creationId="{643E4639-49A3-43F5-BC9A-99D7A39C294A}"/>
          </ac:spMkLst>
        </pc:spChg>
        <pc:picChg chg="add mod">
          <ac:chgData name="Mihai Tataran" userId="36298dfa-a822-4774-91a5-83a5a2d3db2e" providerId="ADAL" clId="{8F27AB47-687C-4D7D-BF0F-011417EDBCF6}" dt="2021-06-09T05:22:13.477" v="463"/>
          <ac:picMkLst>
            <pc:docMk/>
            <pc:sldMk cId="3739505304" sldId="9921"/>
            <ac:picMk id="221" creationId="{A47BB5AC-7C07-4343-8699-C02892E9C5A0}"/>
          </ac:picMkLst>
        </pc:picChg>
      </pc:sldChg>
      <pc:sldChg chg="addSp delSp modSp new mod">
        <pc:chgData name="Mihai Tataran" userId="36298dfa-a822-4774-91a5-83a5a2d3db2e" providerId="ADAL" clId="{8F27AB47-687C-4D7D-BF0F-011417EDBCF6}" dt="2021-06-09T14:41:03.140" v="1830" actId="1036"/>
        <pc:sldMkLst>
          <pc:docMk/>
          <pc:sldMk cId="2129294067" sldId="9922"/>
        </pc:sldMkLst>
        <pc:spChg chg="mod">
          <ac:chgData name="Mihai Tataran" userId="36298dfa-a822-4774-91a5-83a5a2d3db2e" providerId="ADAL" clId="{8F27AB47-687C-4D7D-BF0F-011417EDBCF6}" dt="2021-06-09T05:47:30.979" v="557" actId="20577"/>
          <ac:spMkLst>
            <pc:docMk/>
            <pc:sldMk cId="2129294067" sldId="9922"/>
            <ac:spMk id="2" creationId="{B7441E9B-A2DF-43C4-BD7D-01ED8F839CB0}"/>
          </ac:spMkLst>
        </pc:spChg>
        <pc:spChg chg="del">
          <ac:chgData name="Mihai Tataran" userId="36298dfa-a822-4774-91a5-83a5a2d3db2e" providerId="ADAL" clId="{8F27AB47-687C-4D7D-BF0F-011417EDBCF6}" dt="2021-06-09T05:52:04.310" v="558" actId="478"/>
          <ac:spMkLst>
            <pc:docMk/>
            <pc:sldMk cId="2129294067" sldId="9922"/>
            <ac:spMk id="3" creationId="{0E98AAA9-822D-477D-9CD5-89F55E6E53C6}"/>
          </ac:spMkLst>
        </pc:spChg>
        <pc:spChg chg="add mod">
          <ac:chgData name="Mihai Tataran" userId="36298dfa-a822-4774-91a5-83a5a2d3db2e" providerId="ADAL" clId="{8F27AB47-687C-4D7D-BF0F-011417EDBCF6}" dt="2021-06-09T05:59:05.616" v="1327" actId="20577"/>
          <ac:spMkLst>
            <pc:docMk/>
            <pc:sldMk cId="2129294067" sldId="9922"/>
            <ac:spMk id="6" creationId="{8FE58614-563E-45FD-BB14-34F1F2617DBB}"/>
          </ac:spMkLst>
        </pc:spChg>
        <pc:picChg chg="add mod">
          <ac:chgData name="Mihai Tataran" userId="36298dfa-a822-4774-91a5-83a5a2d3db2e" providerId="ADAL" clId="{8F27AB47-687C-4D7D-BF0F-011417EDBCF6}" dt="2021-06-09T14:41:03.140" v="1830" actId="1036"/>
          <ac:picMkLst>
            <pc:docMk/>
            <pc:sldMk cId="2129294067" sldId="9922"/>
            <ac:picMk id="5" creationId="{BE2E78FF-5D90-430C-85D6-A0FAA2E36ADE}"/>
          </ac:picMkLst>
        </pc:picChg>
      </pc:sldChg>
      <pc:sldChg chg="delSp modSp add mod">
        <pc:chgData name="Mihai Tataran" userId="36298dfa-a822-4774-91a5-83a5a2d3db2e" providerId="ADAL" clId="{8F27AB47-687C-4D7D-BF0F-011417EDBCF6}" dt="2021-06-09T05:59:59.695" v="1355" actId="20577"/>
        <pc:sldMkLst>
          <pc:docMk/>
          <pc:sldMk cId="1263226004" sldId="9923"/>
        </pc:sldMkLst>
        <pc:spChg chg="mod">
          <ac:chgData name="Mihai Tataran" userId="36298dfa-a822-4774-91a5-83a5a2d3db2e" providerId="ADAL" clId="{8F27AB47-687C-4D7D-BF0F-011417EDBCF6}" dt="2021-06-09T05:54:39.967" v="709" actId="20577"/>
          <ac:spMkLst>
            <pc:docMk/>
            <pc:sldMk cId="1263226004" sldId="9923"/>
            <ac:spMk id="2" creationId="{B7441E9B-A2DF-43C4-BD7D-01ED8F839CB0}"/>
          </ac:spMkLst>
        </pc:spChg>
        <pc:spChg chg="mod">
          <ac:chgData name="Mihai Tataran" userId="36298dfa-a822-4774-91a5-83a5a2d3db2e" providerId="ADAL" clId="{8F27AB47-687C-4D7D-BF0F-011417EDBCF6}" dt="2021-06-09T05:59:59.695" v="1355" actId="20577"/>
          <ac:spMkLst>
            <pc:docMk/>
            <pc:sldMk cId="1263226004" sldId="9923"/>
            <ac:spMk id="6" creationId="{8FE58614-563E-45FD-BB14-34F1F2617DBB}"/>
          </ac:spMkLst>
        </pc:spChg>
        <pc:picChg chg="del mod">
          <ac:chgData name="Mihai Tataran" userId="36298dfa-a822-4774-91a5-83a5a2d3db2e" providerId="ADAL" clId="{8F27AB47-687C-4D7D-BF0F-011417EDBCF6}" dt="2021-06-09T05:54:35.281" v="694" actId="478"/>
          <ac:picMkLst>
            <pc:docMk/>
            <pc:sldMk cId="1263226004" sldId="9923"/>
            <ac:picMk id="5" creationId="{BE2E78FF-5D90-430C-85D6-A0FAA2E36ADE}"/>
          </ac:picMkLst>
        </pc:picChg>
      </pc:sldChg>
      <pc:sldChg chg="addSp">
        <pc:chgData name="Mihai Tataran" userId="36298dfa-a822-4774-91a5-83a5a2d3db2e" providerId="ADAL" clId="{8F27AB47-687C-4D7D-BF0F-011417EDBCF6}" dt="2021-06-09T06:00:46.201" v="1378"/>
        <pc:sldMkLst>
          <pc:docMk/>
          <pc:sldMk cId="256797385" sldId="9924"/>
        </pc:sldMkLst>
        <pc:picChg chg="add">
          <ac:chgData name="Mihai Tataran" userId="36298dfa-a822-4774-91a5-83a5a2d3db2e" providerId="ADAL" clId="{8F27AB47-687C-4D7D-BF0F-011417EDBCF6}" dt="2021-06-09T06:00:46.201" v="1378"/>
          <ac:picMkLst>
            <pc:docMk/>
            <pc:sldMk cId="256797385" sldId="9924"/>
            <ac:picMk id="1026" creationId="{153B0D9C-1815-4CB9-8B95-A416BFF6E092}"/>
          </ac:picMkLst>
        </pc:picChg>
      </pc:sldChg>
      <pc:sldChg chg="addSp delSp modSp new add del mod modAnim">
        <pc:chgData name="Mihai Tataran" userId="36298dfa-a822-4774-91a5-83a5a2d3db2e" providerId="ADAL" clId="{8F27AB47-687C-4D7D-BF0F-011417EDBCF6}" dt="2021-06-09T06:05:52.571" v="1391"/>
        <pc:sldMkLst>
          <pc:docMk/>
          <pc:sldMk cId="1514369479" sldId="9924"/>
        </pc:sldMkLst>
        <pc:spChg chg="mod">
          <ac:chgData name="Mihai Tataran" userId="36298dfa-a822-4774-91a5-83a5a2d3db2e" providerId="ADAL" clId="{8F27AB47-687C-4D7D-BF0F-011417EDBCF6}" dt="2021-06-09T06:00:35.122" v="1376" actId="20577"/>
          <ac:spMkLst>
            <pc:docMk/>
            <pc:sldMk cId="1514369479" sldId="9924"/>
            <ac:spMk id="2" creationId="{608F256B-34A6-4BF8-9BE1-DA0F26D2226D}"/>
          </ac:spMkLst>
        </pc:spChg>
        <pc:spChg chg="del">
          <ac:chgData name="Mihai Tataran" userId="36298dfa-a822-4774-91a5-83a5a2d3db2e" providerId="ADAL" clId="{8F27AB47-687C-4D7D-BF0F-011417EDBCF6}" dt="2021-06-09T06:00:44.962" v="1377" actId="478"/>
          <ac:spMkLst>
            <pc:docMk/>
            <pc:sldMk cId="1514369479" sldId="9924"/>
            <ac:spMk id="3" creationId="{BED5497C-C7D9-4FC0-B348-125523B4D741}"/>
          </ac:spMkLst>
        </pc:spChg>
        <pc:picChg chg="add mod">
          <ac:chgData name="Mihai Tataran" userId="36298dfa-a822-4774-91a5-83a5a2d3db2e" providerId="ADAL" clId="{8F27AB47-687C-4D7D-BF0F-011417EDBCF6}" dt="2021-06-09T06:03:09.051" v="1385" actId="1076"/>
          <ac:picMkLst>
            <pc:docMk/>
            <pc:sldMk cId="1514369479" sldId="9924"/>
            <ac:picMk id="4" creationId="{AAACB7AA-56F1-4AB9-9599-BBF994176947}"/>
          </ac:picMkLst>
        </pc:picChg>
        <pc:picChg chg="add mod">
          <ac:chgData name="Mihai Tataran" userId="36298dfa-a822-4774-91a5-83a5a2d3db2e" providerId="ADAL" clId="{8F27AB47-687C-4D7D-BF0F-011417EDBCF6}" dt="2021-06-09T06:05:48.920" v="1390" actId="1076"/>
          <ac:picMkLst>
            <pc:docMk/>
            <pc:sldMk cId="1514369479" sldId="9924"/>
            <ac:picMk id="6" creationId="{034895F7-E47B-4130-9162-62DBEB39E397}"/>
          </ac:picMkLst>
        </pc:picChg>
        <pc:picChg chg="mod">
          <ac:chgData name="Mihai Tataran" userId="36298dfa-a822-4774-91a5-83a5a2d3db2e" providerId="ADAL" clId="{8F27AB47-687C-4D7D-BF0F-011417EDBCF6}" dt="2021-06-09T06:00:56.967" v="1382" actId="14100"/>
          <ac:picMkLst>
            <pc:docMk/>
            <pc:sldMk cId="1514369479" sldId="9924"/>
            <ac:picMk id="1026" creationId="{153B0D9C-1815-4CB9-8B95-A416BFF6E092}"/>
          </ac:picMkLst>
        </pc:picChg>
      </pc:sldChg>
      <pc:sldChg chg="delSp modSp add mod modClrScheme chgLayout">
        <pc:chgData name="Mihai Tataran" userId="36298dfa-a822-4774-91a5-83a5a2d3db2e" providerId="ADAL" clId="{8F27AB47-687C-4D7D-BF0F-011417EDBCF6}" dt="2021-06-09T14:27:36.928" v="1644" actId="20577"/>
        <pc:sldMkLst>
          <pc:docMk/>
          <pc:sldMk cId="2661629470" sldId="10588"/>
        </pc:sldMkLst>
        <pc:spChg chg="mod ord">
          <ac:chgData name="Mihai Tataran" userId="36298dfa-a822-4774-91a5-83a5a2d3db2e" providerId="ADAL" clId="{8F27AB47-687C-4D7D-BF0F-011417EDBCF6}" dt="2021-06-09T14:27:36.928" v="1644" actId="20577"/>
          <ac:spMkLst>
            <pc:docMk/>
            <pc:sldMk cId="2661629470" sldId="10588"/>
            <ac:spMk id="2" creationId="{C09F4817-E2C1-4330-989B-B3F6E08084AD}"/>
          </ac:spMkLst>
        </pc:spChg>
        <pc:spChg chg="mod ord">
          <ac:chgData name="Mihai Tataran" userId="36298dfa-a822-4774-91a5-83a5a2d3db2e" providerId="ADAL" clId="{8F27AB47-687C-4D7D-BF0F-011417EDBCF6}" dt="2021-06-09T14:27:16.102" v="1630" actId="27636"/>
          <ac:spMkLst>
            <pc:docMk/>
            <pc:sldMk cId="2661629470" sldId="10588"/>
            <ac:spMk id="3" creationId="{5507F52F-9D86-4BA0-B8AA-8E42D66A17E6}"/>
          </ac:spMkLst>
        </pc:spChg>
        <pc:spChg chg="del mod">
          <ac:chgData name="Mihai Tataran" userId="36298dfa-a822-4774-91a5-83a5a2d3db2e" providerId="ADAL" clId="{8F27AB47-687C-4D7D-BF0F-011417EDBCF6}" dt="2021-06-09T14:27:16.084" v="1629" actId="700"/>
          <ac:spMkLst>
            <pc:docMk/>
            <pc:sldMk cId="2661629470" sldId="10588"/>
            <ac:spMk id="4" creationId="{DA0DA4FC-1A84-4FD5-A656-1C14C120423A}"/>
          </ac:spMkLst>
        </pc:spChg>
        <pc:picChg chg="mod">
          <ac:chgData name="Mihai Tataran" userId="36298dfa-a822-4774-91a5-83a5a2d3db2e" providerId="ADAL" clId="{8F27AB47-687C-4D7D-BF0F-011417EDBCF6}" dt="2021-06-09T14:27:19.797" v="1631" actId="1076"/>
          <ac:picMkLst>
            <pc:docMk/>
            <pc:sldMk cId="2661629470" sldId="10588"/>
            <ac:picMk id="5" creationId="{A44185D4-AFDB-485F-BE8F-F4536976FA59}"/>
          </ac:picMkLst>
        </pc:picChg>
      </pc:sldChg>
      <pc:sldChg chg="modSp add mod">
        <pc:chgData name="Mihai Tataran" userId="36298dfa-a822-4774-91a5-83a5a2d3db2e" providerId="ADAL" clId="{8F27AB47-687C-4D7D-BF0F-011417EDBCF6}" dt="2021-06-09T14:22:41.408" v="1610" actId="207"/>
        <pc:sldMkLst>
          <pc:docMk/>
          <pc:sldMk cId="1943776979" sldId="2076138107"/>
        </pc:sldMkLst>
        <pc:spChg chg="mod">
          <ac:chgData name="Mihai Tataran" userId="36298dfa-a822-4774-91a5-83a5a2d3db2e" providerId="ADAL" clId="{8F27AB47-687C-4D7D-BF0F-011417EDBCF6}" dt="2021-06-09T14:22:32.805" v="1608" actId="207"/>
          <ac:spMkLst>
            <pc:docMk/>
            <pc:sldMk cId="1943776979" sldId="2076138107"/>
            <ac:spMk id="6" creationId="{10BAAF6A-92B1-4862-8D2A-0B0E77AE6247}"/>
          </ac:spMkLst>
        </pc:spChg>
        <pc:spChg chg="mod">
          <ac:chgData name="Mihai Tataran" userId="36298dfa-a822-4774-91a5-83a5a2d3db2e" providerId="ADAL" clId="{8F27AB47-687C-4D7D-BF0F-011417EDBCF6}" dt="2021-06-09T14:22:41.408" v="1610" actId="207"/>
          <ac:spMkLst>
            <pc:docMk/>
            <pc:sldMk cId="1943776979" sldId="2076138107"/>
            <ac:spMk id="10" creationId="{5C33FA58-9418-435C-A285-BCE2EE476AEF}"/>
          </ac:spMkLst>
        </pc:spChg>
        <pc:spChg chg="mod">
          <ac:chgData name="Mihai Tataran" userId="36298dfa-a822-4774-91a5-83a5a2d3db2e" providerId="ADAL" clId="{8F27AB47-687C-4D7D-BF0F-011417EDBCF6}" dt="2021-06-09T14:22:32.805" v="1608" actId="207"/>
          <ac:spMkLst>
            <pc:docMk/>
            <pc:sldMk cId="1943776979" sldId="2076138107"/>
            <ac:spMk id="12" creationId="{7B411254-5297-4193-874A-E0D6315F570C}"/>
          </ac:spMkLst>
        </pc:spChg>
        <pc:spChg chg="mod">
          <ac:chgData name="Mihai Tataran" userId="36298dfa-a822-4774-91a5-83a5a2d3db2e" providerId="ADAL" clId="{8F27AB47-687C-4D7D-BF0F-011417EDBCF6}" dt="2021-06-09T14:22:32.805" v="1608" actId="207"/>
          <ac:spMkLst>
            <pc:docMk/>
            <pc:sldMk cId="1943776979" sldId="2076138107"/>
            <ac:spMk id="13" creationId="{90FE220F-A5AC-4DFC-B86A-70001CCEED1D}"/>
          </ac:spMkLst>
        </pc:spChg>
      </pc:sldChg>
      <pc:sldChg chg="modSp add mod modClrScheme chgLayout">
        <pc:chgData name="Mihai Tataran" userId="36298dfa-a822-4774-91a5-83a5a2d3db2e" providerId="ADAL" clId="{8F27AB47-687C-4D7D-BF0F-011417EDBCF6}" dt="2021-06-09T14:40:00.375" v="1788" actId="1076"/>
        <pc:sldMkLst>
          <pc:docMk/>
          <pc:sldMk cId="3099490153" sldId="2076138113"/>
        </pc:sldMkLst>
        <pc:spChg chg="mod ord">
          <ac:chgData name="Mihai Tataran" userId="36298dfa-a822-4774-91a5-83a5a2d3db2e" providerId="ADAL" clId="{8F27AB47-687C-4D7D-BF0F-011417EDBCF6}" dt="2021-06-09T14:39:56.400" v="1787" actId="108"/>
          <ac:spMkLst>
            <pc:docMk/>
            <pc:sldMk cId="3099490153" sldId="2076138113"/>
            <ac:spMk id="2" creationId="{526882D2-B21F-4188-B126-6E0E06005C88}"/>
          </ac:spMkLst>
        </pc:spChg>
        <pc:spChg chg="mod ord">
          <ac:chgData name="Mihai Tataran" userId="36298dfa-a822-4774-91a5-83a5a2d3db2e" providerId="ADAL" clId="{8F27AB47-687C-4D7D-BF0F-011417EDBCF6}" dt="2021-06-09T14:40:00.375" v="1788" actId="1076"/>
          <ac:spMkLst>
            <pc:docMk/>
            <pc:sldMk cId="3099490153" sldId="2076138113"/>
            <ac:spMk id="5" creationId="{4E538971-1BB0-43A2-A449-67AB8AAB0E27}"/>
          </ac:spMkLst>
        </pc:spChg>
      </pc:sldChg>
      <pc:sldChg chg="addSp delSp modSp add mod modClrScheme chgLayout">
        <pc:chgData name="Mihai Tataran" userId="36298dfa-a822-4774-91a5-83a5a2d3db2e" providerId="ADAL" clId="{8F27AB47-687C-4D7D-BF0F-011417EDBCF6}" dt="2021-06-09T14:40:11.677" v="1794" actId="27636"/>
        <pc:sldMkLst>
          <pc:docMk/>
          <pc:sldMk cId="1763739267" sldId="2076138114"/>
        </pc:sldMkLst>
        <pc:spChg chg="mod ord">
          <ac:chgData name="Mihai Tataran" userId="36298dfa-a822-4774-91a5-83a5a2d3db2e" providerId="ADAL" clId="{8F27AB47-687C-4D7D-BF0F-011417EDBCF6}" dt="2021-06-09T14:40:11.677" v="1794" actId="27636"/>
          <ac:spMkLst>
            <pc:docMk/>
            <pc:sldMk cId="1763739267" sldId="2076138114"/>
            <ac:spMk id="2" creationId="{526882D2-B21F-4188-B126-6E0E06005C88}"/>
          </ac:spMkLst>
        </pc:spChg>
        <pc:spChg chg="add del mod ord">
          <ac:chgData name="Mihai Tataran" userId="36298dfa-a822-4774-91a5-83a5a2d3db2e" providerId="ADAL" clId="{8F27AB47-687C-4D7D-BF0F-011417EDBCF6}" dt="2021-06-09T14:40:06.618" v="1790" actId="700"/>
          <ac:spMkLst>
            <pc:docMk/>
            <pc:sldMk cId="1763739267" sldId="2076138114"/>
            <ac:spMk id="3" creationId="{73D3FF29-72F0-4CD7-A0D6-755155B5F554}"/>
          </ac:spMkLst>
        </pc:spChg>
        <pc:spChg chg="del mod ord">
          <ac:chgData name="Mihai Tataran" userId="36298dfa-a822-4774-91a5-83a5a2d3db2e" providerId="ADAL" clId="{8F27AB47-687C-4D7D-BF0F-011417EDBCF6}" dt="2021-06-09T14:40:03.444" v="1789" actId="700"/>
          <ac:spMkLst>
            <pc:docMk/>
            <pc:sldMk cId="1763739267" sldId="2076138114"/>
            <ac:spMk id="5" creationId="{4E538971-1BB0-43A2-A449-67AB8AAB0E27}"/>
          </ac:spMkLst>
        </pc:spChg>
      </pc:sldChg>
      <pc:sldChg chg="modSp add mod ord modClrScheme chgLayout">
        <pc:chgData name="Mihai Tataran" userId="36298dfa-a822-4774-91a5-83a5a2d3db2e" providerId="ADAL" clId="{8F27AB47-687C-4D7D-BF0F-011417EDBCF6}" dt="2021-06-09T14:41:10.112" v="1832"/>
        <pc:sldMkLst>
          <pc:docMk/>
          <pc:sldMk cId="2506537045" sldId="2076138115"/>
        </pc:sldMkLst>
        <pc:spChg chg="mod ord">
          <ac:chgData name="Mihai Tataran" userId="36298dfa-a822-4774-91a5-83a5a2d3db2e" providerId="ADAL" clId="{8F27AB47-687C-4D7D-BF0F-011417EDBCF6}" dt="2021-06-09T14:40:24.408" v="1800" actId="207"/>
          <ac:spMkLst>
            <pc:docMk/>
            <pc:sldMk cId="2506537045" sldId="2076138115"/>
            <ac:spMk id="2" creationId="{526882D2-B21F-4188-B126-6E0E06005C88}"/>
          </ac:spMkLst>
        </pc:spChg>
        <pc:spChg chg="mod ord">
          <ac:chgData name="Mihai Tataran" userId="36298dfa-a822-4774-91a5-83a5a2d3db2e" providerId="ADAL" clId="{8F27AB47-687C-4D7D-BF0F-011417EDBCF6}" dt="2021-06-09T14:40:20.750" v="1798" actId="5793"/>
          <ac:spMkLst>
            <pc:docMk/>
            <pc:sldMk cId="2506537045" sldId="2076138115"/>
            <ac:spMk id="5" creationId="{4E538971-1BB0-43A2-A449-67AB8AAB0E27}"/>
          </ac:spMkLst>
        </pc:spChg>
      </pc:sldChg>
      <pc:sldChg chg="modSp add mod">
        <pc:chgData name="Mihai Tataran" userId="36298dfa-a822-4774-91a5-83a5a2d3db2e" providerId="ADAL" clId="{8F27AB47-687C-4D7D-BF0F-011417EDBCF6}" dt="2021-06-09T14:32:54.855" v="1755" actId="20577"/>
        <pc:sldMkLst>
          <pc:docMk/>
          <pc:sldMk cId="661995138" sldId="2076138117"/>
        </pc:sldMkLst>
        <pc:spChg chg="mod">
          <ac:chgData name="Mihai Tataran" userId="36298dfa-a822-4774-91a5-83a5a2d3db2e" providerId="ADAL" clId="{8F27AB47-687C-4D7D-BF0F-011417EDBCF6}" dt="2021-06-09T14:32:54.855" v="1755" actId="20577"/>
          <ac:spMkLst>
            <pc:docMk/>
            <pc:sldMk cId="661995138" sldId="2076138117"/>
            <ac:spMk id="2" creationId="{2FDB635E-AFCF-4305-BCAE-665DEF57115F}"/>
          </ac:spMkLst>
        </pc:spChg>
      </pc:sldChg>
      <pc:sldChg chg="addSp delSp modSp add mod modClrScheme chgLayout">
        <pc:chgData name="Mihai Tataran" userId="36298dfa-a822-4774-91a5-83a5a2d3db2e" providerId="ADAL" clId="{8F27AB47-687C-4D7D-BF0F-011417EDBCF6}" dt="2021-06-09T14:36:20.005" v="1756" actId="113"/>
        <pc:sldMkLst>
          <pc:docMk/>
          <pc:sldMk cId="2242243911" sldId="2076138118"/>
        </pc:sldMkLst>
        <pc:spChg chg="mod ord">
          <ac:chgData name="Mihai Tataran" userId="36298dfa-a822-4774-91a5-83a5a2d3db2e" providerId="ADAL" clId="{8F27AB47-687C-4D7D-BF0F-011417EDBCF6}" dt="2021-06-09T14:36:20.005" v="1756" actId="113"/>
          <ac:spMkLst>
            <pc:docMk/>
            <pc:sldMk cId="2242243911" sldId="2076138118"/>
            <ac:spMk id="2" creationId="{526882D2-B21F-4188-B126-6E0E06005C88}"/>
          </ac:spMkLst>
        </pc:spChg>
        <pc:spChg chg="add del mod">
          <ac:chgData name="Mihai Tataran" userId="36298dfa-a822-4774-91a5-83a5a2d3db2e" providerId="ADAL" clId="{8F27AB47-687C-4D7D-BF0F-011417EDBCF6}" dt="2021-06-09T14:30:58.515" v="1691" actId="478"/>
          <ac:spMkLst>
            <pc:docMk/>
            <pc:sldMk cId="2242243911" sldId="2076138118"/>
            <ac:spMk id="4" creationId="{E201AD06-B9DC-4EC9-9C09-BDAAB6C83D6F}"/>
          </ac:spMkLst>
        </pc:spChg>
        <pc:spChg chg="del mod ord">
          <ac:chgData name="Mihai Tataran" userId="36298dfa-a822-4774-91a5-83a5a2d3db2e" providerId="ADAL" clId="{8F27AB47-687C-4D7D-BF0F-011417EDBCF6}" dt="2021-06-09T14:30:55.970" v="1690" actId="478"/>
          <ac:spMkLst>
            <pc:docMk/>
            <pc:sldMk cId="2242243911" sldId="2076138118"/>
            <ac:spMk id="5" creationId="{4E538971-1BB0-43A2-A449-67AB8AAB0E27}"/>
          </ac:spMkLst>
        </pc:spChg>
      </pc:sldChg>
      <pc:sldChg chg="addSp delSp modSp add mod modClrScheme chgLayout">
        <pc:chgData name="Mihai Tataran" userId="36298dfa-a822-4774-91a5-83a5a2d3db2e" providerId="ADAL" clId="{8F27AB47-687C-4D7D-BF0F-011417EDBCF6}" dt="2021-06-09T14:53:04.259" v="1965" actId="1076"/>
        <pc:sldMkLst>
          <pc:docMk/>
          <pc:sldMk cId="3268935847" sldId="2076138119"/>
        </pc:sldMkLst>
        <pc:spChg chg="mod ord">
          <ac:chgData name="Mihai Tataran" userId="36298dfa-a822-4774-91a5-83a5a2d3db2e" providerId="ADAL" clId="{8F27AB47-687C-4D7D-BF0F-011417EDBCF6}" dt="2021-06-09T14:36:22.109" v="1757" actId="113"/>
          <ac:spMkLst>
            <pc:docMk/>
            <pc:sldMk cId="3268935847" sldId="2076138119"/>
            <ac:spMk id="2" creationId="{526882D2-B21F-4188-B126-6E0E06005C88}"/>
          </ac:spMkLst>
        </pc:spChg>
        <pc:spChg chg="add del mod ord">
          <ac:chgData name="Mihai Tataran" userId="36298dfa-a822-4774-91a5-83a5a2d3db2e" providerId="ADAL" clId="{8F27AB47-687C-4D7D-BF0F-011417EDBCF6}" dt="2021-06-09T14:31:05.985" v="1694" actId="478"/>
          <ac:spMkLst>
            <pc:docMk/>
            <pc:sldMk cId="3268935847" sldId="2076138119"/>
            <ac:spMk id="3" creationId="{17497DFF-B472-4AB6-92B4-2017C64C2511}"/>
          </ac:spMkLst>
        </pc:spChg>
        <pc:spChg chg="del mod ord">
          <ac:chgData name="Mihai Tataran" userId="36298dfa-a822-4774-91a5-83a5a2d3db2e" providerId="ADAL" clId="{8F27AB47-687C-4D7D-BF0F-011417EDBCF6}" dt="2021-06-09T14:31:02.330" v="1692" actId="700"/>
          <ac:spMkLst>
            <pc:docMk/>
            <pc:sldMk cId="3268935847" sldId="2076138119"/>
            <ac:spMk id="5" creationId="{4E538971-1BB0-43A2-A449-67AB8AAB0E27}"/>
          </ac:spMkLst>
        </pc:spChg>
        <pc:spChg chg="mod">
          <ac:chgData name="Mihai Tataran" userId="36298dfa-a822-4774-91a5-83a5a2d3db2e" providerId="ADAL" clId="{8F27AB47-687C-4D7D-BF0F-011417EDBCF6}" dt="2021-06-09T14:31:13.046" v="1697" actId="20577"/>
          <ac:spMkLst>
            <pc:docMk/>
            <pc:sldMk cId="3268935847" sldId="2076138119"/>
            <ac:spMk id="6" creationId="{FE02719F-E737-4A30-9B59-872F813F10C0}"/>
          </ac:spMkLst>
        </pc:spChg>
        <pc:picChg chg="mod">
          <ac:chgData name="Mihai Tataran" userId="36298dfa-a822-4774-91a5-83a5a2d3db2e" providerId="ADAL" clId="{8F27AB47-687C-4D7D-BF0F-011417EDBCF6}" dt="2021-06-09T14:53:00.480" v="1963" actId="1076"/>
          <ac:picMkLst>
            <pc:docMk/>
            <pc:sldMk cId="3268935847" sldId="2076138119"/>
            <ac:picMk id="12290" creationId="{742771D9-0CE0-4BD5-903B-C4197090733C}"/>
          </ac:picMkLst>
        </pc:picChg>
        <pc:picChg chg="mod">
          <ac:chgData name="Mihai Tataran" userId="36298dfa-a822-4774-91a5-83a5a2d3db2e" providerId="ADAL" clId="{8F27AB47-687C-4D7D-BF0F-011417EDBCF6}" dt="2021-06-09T14:53:04.259" v="1965" actId="1076"/>
          <ac:picMkLst>
            <pc:docMk/>
            <pc:sldMk cId="3268935847" sldId="2076138119"/>
            <ac:picMk id="13314" creationId="{A6305343-7363-40AA-9FA1-8F2EF252B739}"/>
          </ac:picMkLst>
        </pc:picChg>
        <pc:picChg chg="mod">
          <ac:chgData name="Mihai Tataran" userId="36298dfa-a822-4774-91a5-83a5a2d3db2e" providerId="ADAL" clId="{8F27AB47-687C-4D7D-BF0F-011417EDBCF6}" dt="2021-06-09T14:53:02.618" v="1964" actId="1076"/>
          <ac:picMkLst>
            <pc:docMk/>
            <pc:sldMk cId="3268935847" sldId="2076138119"/>
            <ac:picMk id="14338" creationId="{EC30FEA3-D12C-4C94-A901-9B72C1C517E2}"/>
          </ac:picMkLst>
        </pc:picChg>
      </pc:sldChg>
      <pc:sldChg chg="addSp delSp modSp add mod modClrScheme chgLayout">
        <pc:chgData name="Mihai Tataran" userId="36298dfa-a822-4774-91a5-83a5a2d3db2e" providerId="ADAL" clId="{8F27AB47-687C-4D7D-BF0F-011417EDBCF6}" dt="2021-06-09T14:36:24.277" v="1758" actId="113"/>
        <pc:sldMkLst>
          <pc:docMk/>
          <pc:sldMk cId="4118392577" sldId="2076138120"/>
        </pc:sldMkLst>
        <pc:spChg chg="mod ord">
          <ac:chgData name="Mihai Tataran" userId="36298dfa-a822-4774-91a5-83a5a2d3db2e" providerId="ADAL" clId="{8F27AB47-687C-4D7D-BF0F-011417EDBCF6}" dt="2021-06-09T14:36:24.277" v="1758" actId="113"/>
          <ac:spMkLst>
            <pc:docMk/>
            <pc:sldMk cId="4118392577" sldId="2076138120"/>
            <ac:spMk id="2" creationId="{526882D2-B21F-4188-B126-6E0E06005C88}"/>
          </ac:spMkLst>
        </pc:spChg>
        <pc:spChg chg="add del mod ord">
          <ac:chgData name="Mihai Tataran" userId="36298dfa-a822-4774-91a5-83a5a2d3db2e" providerId="ADAL" clId="{8F27AB47-687C-4D7D-BF0F-011417EDBCF6}" dt="2021-06-09T14:31:23.059" v="1700" actId="478"/>
          <ac:spMkLst>
            <pc:docMk/>
            <pc:sldMk cId="4118392577" sldId="2076138120"/>
            <ac:spMk id="3" creationId="{6B897228-B881-4C68-9E57-C06F78832D4E}"/>
          </ac:spMkLst>
        </pc:spChg>
        <pc:spChg chg="del mod ord">
          <ac:chgData name="Mihai Tataran" userId="36298dfa-a822-4774-91a5-83a5a2d3db2e" providerId="ADAL" clId="{8F27AB47-687C-4D7D-BF0F-011417EDBCF6}" dt="2021-06-09T14:31:19.836" v="1698" actId="700"/>
          <ac:spMkLst>
            <pc:docMk/>
            <pc:sldMk cId="4118392577" sldId="2076138120"/>
            <ac:spMk id="5" creationId="{4E538971-1BB0-43A2-A449-67AB8AAB0E27}"/>
          </ac:spMkLst>
        </pc:spChg>
      </pc:sldChg>
      <pc:sldChg chg="addSp delSp modSp add mod modClrScheme chgLayout">
        <pc:chgData name="Mihai Tataran" userId="36298dfa-a822-4774-91a5-83a5a2d3db2e" providerId="ADAL" clId="{8F27AB47-687C-4D7D-BF0F-011417EDBCF6}" dt="2021-06-09T14:32:20.865" v="1713" actId="207"/>
        <pc:sldMkLst>
          <pc:docMk/>
          <pc:sldMk cId="2348548732" sldId="2076138121"/>
        </pc:sldMkLst>
        <pc:spChg chg="mod ord">
          <ac:chgData name="Mihai Tataran" userId="36298dfa-a822-4774-91a5-83a5a2d3db2e" providerId="ADAL" clId="{8F27AB47-687C-4D7D-BF0F-011417EDBCF6}" dt="2021-06-09T14:32:20.865" v="1713" actId="207"/>
          <ac:spMkLst>
            <pc:docMk/>
            <pc:sldMk cId="2348548732" sldId="2076138121"/>
            <ac:spMk id="2" creationId="{526882D2-B21F-4188-B126-6E0E06005C88}"/>
          </ac:spMkLst>
        </pc:spChg>
        <pc:spChg chg="add del mod ord">
          <ac:chgData name="Mihai Tataran" userId="36298dfa-a822-4774-91a5-83a5a2d3db2e" providerId="ADAL" clId="{8F27AB47-687C-4D7D-BF0F-011417EDBCF6}" dt="2021-06-09T14:31:34.500" v="1703" actId="478"/>
          <ac:spMkLst>
            <pc:docMk/>
            <pc:sldMk cId="2348548732" sldId="2076138121"/>
            <ac:spMk id="3" creationId="{F2060F99-FE70-4F98-82A3-8CFF2B9FD4BC}"/>
          </ac:spMkLst>
        </pc:spChg>
        <pc:spChg chg="del mod ord">
          <ac:chgData name="Mihai Tataran" userId="36298dfa-a822-4774-91a5-83a5a2d3db2e" providerId="ADAL" clId="{8F27AB47-687C-4D7D-BF0F-011417EDBCF6}" dt="2021-06-09T14:31:32.287" v="1701" actId="700"/>
          <ac:spMkLst>
            <pc:docMk/>
            <pc:sldMk cId="2348548732" sldId="2076138121"/>
            <ac:spMk id="5" creationId="{4E538971-1BB0-43A2-A449-67AB8AAB0E27}"/>
          </ac:spMkLst>
        </pc:spChg>
      </pc:sldChg>
      <pc:sldChg chg="addSp delSp modSp add del mod modClrScheme chgLayout">
        <pc:chgData name="Mihai Tataran" userId="36298dfa-a822-4774-91a5-83a5a2d3db2e" providerId="ADAL" clId="{8F27AB47-687C-4D7D-BF0F-011417EDBCF6}" dt="2021-06-09T14:24:56.927" v="1618" actId="47"/>
        <pc:sldMkLst>
          <pc:docMk/>
          <pc:sldMk cId="1596850661" sldId="2076138123"/>
        </pc:sldMkLst>
        <pc:spChg chg="mod ord">
          <ac:chgData name="Mihai Tataran" userId="36298dfa-a822-4774-91a5-83a5a2d3db2e" providerId="ADAL" clId="{8F27AB47-687C-4D7D-BF0F-011417EDBCF6}" dt="2021-06-09T14:24:33.200" v="1615" actId="207"/>
          <ac:spMkLst>
            <pc:docMk/>
            <pc:sldMk cId="1596850661" sldId="2076138123"/>
            <ac:spMk id="2" creationId="{526882D2-B21F-4188-B126-6E0E06005C88}"/>
          </ac:spMkLst>
        </pc:spChg>
        <pc:spChg chg="add del mod ord">
          <ac:chgData name="Mihai Tataran" userId="36298dfa-a822-4774-91a5-83a5a2d3db2e" providerId="ADAL" clId="{8F27AB47-687C-4D7D-BF0F-011417EDBCF6}" dt="2021-06-09T14:24:38.138" v="1617" actId="478"/>
          <ac:spMkLst>
            <pc:docMk/>
            <pc:sldMk cId="1596850661" sldId="2076138123"/>
            <ac:spMk id="3" creationId="{617E4A03-65C1-4C24-8BF7-187B948D01BD}"/>
          </ac:spMkLst>
        </pc:spChg>
        <pc:spChg chg="del mod ord">
          <ac:chgData name="Mihai Tataran" userId="36298dfa-a822-4774-91a5-83a5a2d3db2e" providerId="ADAL" clId="{8F27AB47-687C-4D7D-BF0F-011417EDBCF6}" dt="2021-06-09T14:24:28.987" v="1613" actId="700"/>
          <ac:spMkLst>
            <pc:docMk/>
            <pc:sldMk cId="1596850661" sldId="2076138123"/>
            <ac:spMk id="5" creationId="{4E538971-1BB0-43A2-A449-67AB8AAB0E27}"/>
          </ac:spMkLst>
        </pc:spChg>
        <pc:spChg chg="mod">
          <ac:chgData name="Mihai Tataran" userId="36298dfa-a822-4774-91a5-83a5a2d3db2e" providerId="ADAL" clId="{8F27AB47-687C-4D7D-BF0F-011417EDBCF6}" dt="2021-06-09T14:24:34.708" v="1616" actId="207"/>
          <ac:spMkLst>
            <pc:docMk/>
            <pc:sldMk cId="1596850661" sldId="2076138123"/>
            <ac:spMk id="7" creationId="{0BCB6FB3-252C-474C-9A8E-A8C942D093A7}"/>
          </ac:spMkLst>
        </pc:spChg>
      </pc:sldChg>
      <pc:sldChg chg="addSp delSp modSp add mod modClrScheme chgLayout">
        <pc:chgData name="Mihai Tataran" userId="36298dfa-a822-4774-91a5-83a5a2d3db2e" providerId="ADAL" clId="{8F27AB47-687C-4D7D-BF0F-011417EDBCF6}" dt="2021-06-09T14:25:35.104" v="1625" actId="207"/>
        <pc:sldMkLst>
          <pc:docMk/>
          <pc:sldMk cId="1509397168" sldId="2076138124"/>
        </pc:sldMkLst>
        <pc:spChg chg="mod ord">
          <ac:chgData name="Mihai Tataran" userId="36298dfa-a822-4774-91a5-83a5a2d3db2e" providerId="ADAL" clId="{8F27AB47-687C-4D7D-BF0F-011417EDBCF6}" dt="2021-06-09T14:25:31.592" v="1624" actId="700"/>
          <ac:spMkLst>
            <pc:docMk/>
            <pc:sldMk cId="1509397168" sldId="2076138124"/>
            <ac:spMk id="2" creationId="{526882D2-B21F-4188-B126-6E0E06005C88}"/>
          </ac:spMkLst>
        </pc:spChg>
        <pc:spChg chg="add del mod ord">
          <ac:chgData name="Mihai Tataran" userId="36298dfa-a822-4774-91a5-83a5a2d3db2e" providerId="ADAL" clId="{8F27AB47-687C-4D7D-BF0F-011417EDBCF6}" dt="2021-06-09T14:25:31.592" v="1624" actId="700"/>
          <ac:spMkLst>
            <pc:docMk/>
            <pc:sldMk cId="1509397168" sldId="2076138124"/>
            <ac:spMk id="3" creationId="{C9D4DC43-A81D-4F21-8DA9-173D6467A559}"/>
          </ac:spMkLst>
        </pc:spChg>
        <pc:spChg chg="del mod ord">
          <ac:chgData name="Mihai Tataran" userId="36298dfa-a822-4774-91a5-83a5a2d3db2e" providerId="ADAL" clId="{8F27AB47-687C-4D7D-BF0F-011417EDBCF6}" dt="2021-06-09T14:25:17.645" v="1621" actId="700"/>
          <ac:spMkLst>
            <pc:docMk/>
            <pc:sldMk cId="1509397168" sldId="2076138124"/>
            <ac:spMk id="5" creationId="{4E538971-1BB0-43A2-A449-67AB8AAB0E27}"/>
          </ac:spMkLst>
        </pc:spChg>
        <pc:spChg chg="mod">
          <ac:chgData name="Mihai Tataran" userId="36298dfa-a822-4774-91a5-83a5a2d3db2e" providerId="ADAL" clId="{8F27AB47-687C-4D7D-BF0F-011417EDBCF6}" dt="2021-06-09T14:25:35.104" v="1625" actId="207"/>
          <ac:spMkLst>
            <pc:docMk/>
            <pc:sldMk cId="1509397168" sldId="2076138124"/>
            <ac:spMk id="7" creationId="{0BCB6FB3-252C-474C-9A8E-A8C942D093A7}"/>
          </ac:spMkLst>
        </pc:spChg>
        <pc:picChg chg="mod">
          <ac:chgData name="Mihai Tataran" userId="36298dfa-a822-4774-91a5-83a5a2d3db2e" providerId="ADAL" clId="{8F27AB47-687C-4D7D-BF0F-011417EDBCF6}" dt="2021-06-09T14:25:20.650" v="1623" actId="207"/>
          <ac:picMkLst>
            <pc:docMk/>
            <pc:sldMk cId="1509397168" sldId="2076138124"/>
            <ac:picMk id="23554" creationId="{9635572B-7F69-4391-80AD-24302F69D58C}"/>
          </ac:picMkLst>
        </pc:picChg>
        <pc:picChg chg="mod">
          <ac:chgData name="Mihai Tataran" userId="36298dfa-a822-4774-91a5-83a5a2d3db2e" providerId="ADAL" clId="{8F27AB47-687C-4D7D-BF0F-011417EDBCF6}" dt="2021-06-09T14:25:20.650" v="1623" actId="207"/>
          <ac:picMkLst>
            <pc:docMk/>
            <pc:sldMk cId="1509397168" sldId="2076138124"/>
            <ac:picMk id="24578" creationId="{D6CBB911-9D85-4F00-A6C8-E425681A002C}"/>
          </ac:picMkLst>
        </pc:picChg>
      </pc:sldChg>
      <pc:sldChg chg="delSp modSp add mod modClrScheme chgLayout">
        <pc:chgData name="Mihai Tataran" userId="36298dfa-a822-4774-91a5-83a5a2d3db2e" providerId="ADAL" clId="{8F27AB47-687C-4D7D-BF0F-011417EDBCF6}" dt="2021-06-09T14:38:01.827" v="1774" actId="108"/>
        <pc:sldMkLst>
          <pc:docMk/>
          <pc:sldMk cId="3252688746" sldId="2076138184"/>
        </pc:sldMkLst>
        <pc:spChg chg="mod ord">
          <ac:chgData name="Mihai Tataran" userId="36298dfa-a822-4774-91a5-83a5a2d3db2e" providerId="ADAL" clId="{8F27AB47-687C-4D7D-BF0F-011417EDBCF6}" dt="2021-06-09T14:38:01.827" v="1774" actId="108"/>
          <ac:spMkLst>
            <pc:docMk/>
            <pc:sldMk cId="3252688746" sldId="2076138184"/>
            <ac:spMk id="2" creationId="{526882D2-B21F-4188-B126-6E0E06005C88}"/>
          </ac:spMkLst>
        </pc:spChg>
        <pc:spChg chg="del">
          <ac:chgData name="Mihai Tataran" userId="36298dfa-a822-4774-91a5-83a5a2d3db2e" providerId="ADAL" clId="{8F27AB47-687C-4D7D-BF0F-011417EDBCF6}" dt="2021-06-09T14:32:03.674" v="1707" actId="700"/>
          <ac:spMkLst>
            <pc:docMk/>
            <pc:sldMk cId="3252688746" sldId="2076138184"/>
            <ac:spMk id="5" creationId="{4E538971-1BB0-43A2-A449-67AB8AAB0E27}"/>
          </ac:spMkLst>
        </pc:spChg>
      </pc:sldChg>
      <pc:sldChg chg="delSp modSp add mod modClrScheme chgLayout">
        <pc:chgData name="Mihai Tataran" userId="36298dfa-a822-4774-91a5-83a5a2d3db2e" providerId="ADAL" clId="{8F27AB47-687C-4D7D-BF0F-011417EDBCF6}" dt="2021-06-09T14:37:57.613" v="1773" actId="108"/>
        <pc:sldMkLst>
          <pc:docMk/>
          <pc:sldMk cId="748896538" sldId="2076138185"/>
        </pc:sldMkLst>
        <pc:spChg chg="mod ord">
          <ac:chgData name="Mihai Tataran" userId="36298dfa-a822-4774-91a5-83a5a2d3db2e" providerId="ADAL" clId="{8F27AB47-687C-4D7D-BF0F-011417EDBCF6}" dt="2021-06-09T14:37:57.613" v="1773" actId="108"/>
          <ac:spMkLst>
            <pc:docMk/>
            <pc:sldMk cId="748896538" sldId="2076138185"/>
            <ac:spMk id="2" creationId="{526882D2-B21F-4188-B126-6E0E06005C88}"/>
          </ac:spMkLst>
        </pc:spChg>
        <pc:spChg chg="del">
          <ac:chgData name="Mihai Tataran" userId="36298dfa-a822-4774-91a5-83a5a2d3db2e" providerId="ADAL" clId="{8F27AB47-687C-4D7D-BF0F-011417EDBCF6}" dt="2021-06-09T14:32:06.960" v="1709" actId="700"/>
          <ac:spMkLst>
            <pc:docMk/>
            <pc:sldMk cId="748896538" sldId="2076138185"/>
            <ac:spMk id="5" creationId="{4E538971-1BB0-43A2-A449-67AB8AAB0E27}"/>
          </ac:spMkLst>
        </pc:spChg>
        <pc:spChg chg="mod">
          <ac:chgData name="Mihai Tataran" userId="36298dfa-a822-4774-91a5-83a5a2d3db2e" providerId="ADAL" clId="{8F27AB47-687C-4D7D-BF0F-011417EDBCF6}" dt="2021-06-09T14:37:13.021" v="1772" actId="20577"/>
          <ac:spMkLst>
            <pc:docMk/>
            <pc:sldMk cId="748896538" sldId="2076138185"/>
            <ac:spMk id="6" creationId="{FE02719F-E737-4A30-9B59-872F813F10C0}"/>
          </ac:spMkLst>
        </pc:spChg>
      </pc:sldChg>
      <pc:sldChg chg="delSp modSp add mod modClrScheme chgLayout">
        <pc:chgData name="Mihai Tataran" userId="36298dfa-a822-4774-91a5-83a5a2d3db2e" providerId="ADAL" clId="{8F27AB47-687C-4D7D-BF0F-011417EDBCF6}" dt="2021-06-09T14:42:56.214" v="1837" actId="207"/>
        <pc:sldMkLst>
          <pc:docMk/>
          <pc:sldMk cId="2017574840" sldId="2076138186"/>
        </pc:sldMkLst>
        <pc:spChg chg="mod ord">
          <ac:chgData name="Mihai Tataran" userId="36298dfa-a822-4774-91a5-83a5a2d3db2e" providerId="ADAL" clId="{8F27AB47-687C-4D7D-BF0F-011417EDBCF6}" dt="2021-06-09T14:42:56.214" v="1837" actId="207"/>
          <ac:spMkLst>
            <pc:docMk/>
            <pc:sldMk cId="2017574840" sldId="2076138186"/>
            <ac:spMk id="2" creationId="{526882D2-B21F-4188-B126-6E0E06005C88}"/>
          </ac:spMkLst>
        </pc:spChg>
        <pc:spChg chg="del">
          <ac:chgData name="Mihai Tataran" userId="36298dfa-a822-4774-91a5-83a5a2d3db2e" providerId="ADAL" clId="{8F27AB47-687C-4D7D-BF0F-011417EDBCF6}" dt="2021-06-09T14:42:53.028" v="1835" actId="700"/>
          <ac:spMkLst>
            <pc:docMk/>
            <pc:sldMk cId="2017574840" sldId="2076138186"/>
            <ac:spMk id="5" creationId="{4E538971-1BB0-43A2-A449-67AB8AAB0E27}"/>
          </ac:spMkLst>
        </pc:spChg>
      </pc:sldChg>
      <pc:sldChg chg="delSp modSp add mod modClrScheme chgLayout">
        <pc:chgData name="Mihai Tataran" userId="36298dfa-a822-4774-91a5-83a5a2d3db2e" providerId="ADAL" clId="{8F27AB47-687C-4D7D-BF0F-011417EDBCF6}" dt="2021-06-09T18:57:05.871" v="2128" actId="20577"/>
        <pc:sldMkLst>
          <pc:docMk/>
          <pc:sldMk cId="1058161775" sldId="2076138190"/>
        </pc:sldMkLst>
        <pc:spChg chg="mod ord">
          <ac:chgData name="Mihai Tataran" userId="36298dfa-a822-4774-91a5-83a5a2d3db2e" providerId="ADAL" clId="{8F27AB47-687C-4D7D-BF0F-011417EDBCF6}" dt="2021-06-09T14:54:27.825" v="1969" actId="20577"/>
          <ac:spMkLst>
            <pc:docMk/>
            <pc:sldMk cId="1058161775" sldId="2076138190"/>
            <ac:spMk id="2" creationId="{526882D2-B21F-4188-B126-6E0E06005C88}"/>
          </ac:spMkLst>
        </pc:spChg>
        <pc:spChg chg="del">
          <ac:chgData name="Mihai Tataran" userId="36298dfa-a822-4774-91a5-83a5a2d3db2e" providerId="ADAL" clId="{8F27AB47-687C-4D7D-BF0F-011417EDBCF6}" dt="2021-06-09T14:44:42.040" v="1840" actId="700"/>
          <ac:spMkLst>
            <pc:docMk/>
            <pc:sldMk cId="1058161775" sldId="2076138190"/>
            <ac:spMk id="5" creationId="{4E538971-1BB0-43A2-A449-67AB8AAB0E27}"/>
          </ac:spMkLst>
        </pc:spChg>
        <pc:spChg chg="mod ord">
          <ac:chgData name="Mihai Tataran" userId="36298dfa-a822-4774-91a5-83a5a2d3db2e" providerId="ADAL" clId="{8F27AB47-687C-4D7D-BF0F-011417EDBCF6}" dt="2021-06-09T18:57:05.871" v="2128" actId="20577"/>
          <ac:spMkLst>
            <pc:docMk/>
            <pc:sldMk cId="1058161775" sldId="2076138190"/>
            <ac:spMk id="7" creationId="{85F31D81-A48E-4EA6-BB2B-8D1512ADD9B0}"/>
          </ac:spMkLst>
        </pc:spChg>
      </pc:sldChg>
      <pc:sldMasterChg chg="addSldLayout modSldLayout">
        <pc:chgData name="Mihai Tataran" userId="36298dfa-a822-4774-91a5-83a5a2d3db2e" providerId="ADAL" clId="{8F27AB47-687C-4D7D-BF0F-011417EDBCF6}" dt="2021-06-09T14:57:06.753" v="1990" actId="22"/>
        <pc:sldMasterMkLst>
          <pc:docMk/>
          <pc:sldMasterMk cId="1557665123" sldId="2147483660"/>
        </pc:sldMasterMkLst>
        <pc:sldLayoutChg chg="add mod replId">
          <pc:chgData name="Mihai Tataran" userId="36298dfa-a822-4774-91a5-83a5a2d3db2e" providerId="ADAL" clId="{8F27AB47-687C-4D7D-BF0F-011417EDBCF6}" dt="2021-06-09T05:20:09.815" v="380" actId="22"/>
          <pc:sldLayoutMkLst>
            <pc:docMk/>
            <pc:sldMasterMk cId="1557665123" sldId="2147483660"/>
            <pc:sldLayoutMk cId="3831625045" sldId="2147483739"/>
          </pc:sldLayoutMkLst>
        </pc:sldLayoutChg>
        <pc:sldLayoutChg chg="add mod">
          <pc:chgData name="Mihai Tataran" userId="36298dfa-a822-4774-91a5-83a5a2d3db2e" providerId="ADAL" clId="{8F27AB47-687C-4D7D-BF0F-011417EDBCF6}" dt="2021-06-09T14:22:26.171" v="1607" actId="22"/>
          <pc:sldLayoutMkLst>
            <pc:docMk/>
            <pc:sldMasterMk cId="1557665123" sldId="2147483660"/>
            <pc:sldLayoutMk cId="1232551731" sldId="2147483740"/>
          </pc:sldLayoutMkLst>
        </pc:sldLayoutChg>
        <pc:sldLayoutChg chg="add mod">
          <pc:chgData name="Mihai Tataran" userId="36298dfa-a822-4774-91a5-83a5a2d3db2e" providerId="ADAL" clId="{8F27AB47-687C-4D7D-BF0F-011417EDBCF6}" dt="2021-06-09T14:24:15.007" v="1611" actId="22"/>
          <pc:sldLayoutMkLst>
            <pc:docMk/>
            <pc:sldMasterMk cId="1557665123" sldId="2147483660"/>
            <pc:sldLayoutMk cId="2647378885" sldId="2147483741"/>
          </pc:sldLayoutMkLst>
        </pc:sldLayoutChg>
        <pc:sldLayoutChg chg="add mod">
          <pc:chgData name="Mihai Tataran" userId="36298dfa-a822-4774-91a5-83a5a2d3db2e" providerId="ADAL" clId="{8F27AB47-687C-4D7D-BF0F-011417EDBCF6}" dt="2021-06-09T14:27:11.944" v="1626" actId="22"/>
          <pc:sldLayoutMkLst>
            <pc:docMk/>
            <pc:sldMasterMk cId="1557665123" sldId="2147483660"/>
            <pc:sldLayoutMk cId="1408560550" sldId="2147483742"/>
          </pc:sldLayoutMkLst>
        </pc:sldLayoutChg>
        <pc:sldLayoutChg chg="add mod">
          <pc:chgData name="Mihai Tataran" userId="36298dfa-a822-4774-91a5-83a5a2d3db2e" providerId="ADAL" clId="{8F27AB47-687C-4D7D-BF0F-011417EDBCF6}" dt="2021-06-09T14:30:36.165" v="1682" actId="22"/>
          <pc:sldLayoutMkLst>
            <pc:docMk/>
            <pc:sldMasterMk cId="1557665123" sldId="2147483660"/>
            <pc:sldLayoutMk cId="2595219788" sldId="2147483743"/>
          </pc:sldLayoutMkLst>
        </pc:sldLayoutChg>
        <pc:sldLayoutChg chg="add mod">
          <pc:chgData name="Mihai Tataran" userId="36298dfa-a822-4774-91a5-83a5a2d3db2e" providerId="ADAL" clId="{8F27AB47-687C-4D7D-BF0F-011417EDBCF6}" dt="2021-06-09T14:57:06.753" v="1990" actId="22"/>
          <pc:sldLayoutMkLst>
            <pc:docMk/>
            <pc:sldMasterMk cId="1557665123" sldId="2147483660"/>
            <pc:sldLayoutMk cId="474318193" sldId="2147483744"/>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C19A09-AAF6-4F86-99BA-931264211A35}" type="doc">
      <dgm:prSet loTypeId="urn:microsoft.com/office/officeart/2008/layout/VerticalCurvedList" loCatId="list" qsTypeId="urn:microsoft.com/office/officeart/2005/8/quickstyle/simple4" qsCatId="simple" csTypeId="urn:microsoft.com/office/officeart/2005/8/colors/accent1_2" csCatId="accent1" phldr="1"/>
      <dgm:spPr/>
      <dgm:t>
        <a:bodyPr/>
        <a:lstStyle/>
        <a:p>
          <a:endParaRPr lang="en-IN"/>
        </a:p>
      </dgm:t>
    </dgm:pt>
    <dgm:pt modelId="{40DA65F3-CEAD-495B-BBC4-98315B876DDE}">
      <dgm:prSet custT="1"/>
      <dgm:spPr/>
      <dgm:t>
        <a:bodyPr/>
        <a:lstStyle/>
        <a:p>
          <a:r>
            <a:rPr lang="en-IN" sz="2400"/>
            <a:t>What is resilience?</a:t>
          </a:r>
        </a:p>
      </dgm:t>
    </dgm:pt>
    <dgm:pt modelId="{6F5BD775-3CC0-4FF9-B5AF-85A2445AAADC}" type="parTrans" cxnId="{973B2091-E2A0-4882-862F-B81F38717CD7}">
      <dgm:prSet/>
      <dgm:spPr/>
      <dgm:t>
        <a:bodyPr/>
        <a:lstStyle/>
        <a:p>
          <a:endParaRPr lang="en-IN" sz="2400"/>
        </a:p>
      </dgm:t>
    </dgm:pt>
    <dgm:pt modelId="{19020B4B-A650-45BC-9835-8032E13666A2}" type="sibTrans" cxnId="{973B2091-E2A0-4882-862F-B81F38717CD7}">
      <dgm:prSet/>
      <dgm:spPr/>
      <dgm:t>
        <a:bodyPr/>
        <a:lstStyle/>
        <a:p>
          <a:endParaRPr lang="en-IN" sz="2400"/>
        </a:p>
      </dgm:t>
    </dgm:pt>
    <dgm:pt modelId="{0145F99B-97EE-4471-BADB-0264E632915C}">
      <dgm:prSet custT="1"/>
      <dgm:spPr/>
      <dgm:t>
        <a:bodyPr/>
        <a:lstStyle/>
        <a:p>
          <a:r>
            <a:rPr lang="en-IN" sz="2400" dirty="0"/>
            <a:t>Defining your resilience requirements</a:t>
          </a:r>
        </a:p>
      </dgm:t>
    </dgm:pt>
    <dgm:pt modelId="{52685617-7699-4C22-8EA0-FE4C484025C6}" type="parTrans" cxnId="{9CCA1D23-DEF8-4E09-BE4E-B5922E06ECE2}">
      <dgm:prSet/>
      <dgm:spPr/>
      <dgm:t>
        <a:bodyPr/>
        <a:lstStyle/>
        <a:p>
          <a:endParaRPr lang="en-IN" sz="2400"/>
        </a:p>
      </dgm:t>
    </dgm:pt>
    <dgm:pt modelId="{F683556E-812E-4ECB-9F55-B228EFA67B9C}" type="sibTrans" cxnId="{9CCA1D23-DEF8-4E09-BE4E-B5922E06ECE2}">
      <dgm:prSet/>
      <dgm:spPr/>
      <dgm:t>
        <a:bodyPr/>
        <a:lstStyle/>
        <a:p>
          <a:endParaRPr lang="en-IN" sz="2400"/>
        </a:p>
      </dgm:t>
    </dgm:pt>
    <dgm:pt modelId="{29B04A40-BD24-4832-83AF-18111E6A522E}">
      <dgm:prSet custT="1"/>
      <dgm:spPr/>
      <dgm:t>
        <a:bodyPr/>
        <a:lstStyle/>
        <a:p>
          <a:r>
            <a:rPr lang="en-IN" sz="2400"/>
            <a:t>Designing for resilience</a:t>
          </a:r>
        </a:p>
      </dgm:t>
    </dgm:pt>
    <dgm:pt modelId="{11F472DE-81D1-45DF-ABE2-A79FDB6F210C}" type="parTrans" cxnId="{5D491FE4-99F7-4D95-8400-B9177A3003ED}">
      <dgm:prSet/>
      <dgm:spPr/>
      <dgm:t>
        <a:bodyPr/>
        <a:lstStyle/>
        <a:p>
          <a:endParaRPr lang="en-IN" sz="2400"/>
        </a:p>
      </dgm:t>
    </dgm:pt>
    <dgm:pt modelId="{5FA80CB6-5D44-42F3-8ED3-E4332787A8B8}" type="sibTrans" cxnId="{5D491FE4-99F7-4D95-8400-B9177A3003ED}">
      <dgm:prSet/>
      <dgm:spPr/>
      <dgm:t>
        <a:bodyPr/>
        <a:lstStyle/>
        <a:p>
          <a:endParaRPr lang="en-IN" sz="2400"/>
        </a:p>
      </dgm:t>
    </dgm:pt>
    <dgm:pt modelId="{E1E65ABF-33BF-4DA1-88A8-1D627644C48B}">
      <dgm:prSet custT="1"/>
      <dgm:spPr/>
      <dgm:t>
        <a:bodyPr/>
        <a:lstStyle/>
        <a:p>
          <a:r>
            <a:rPr lang="en-IN" sz="2400" dirty="0"/>
            <a:t>Resilience strategies</a:t>
          </a:r>
        </a:p>
      </dgm:t>
    </dgm:pt>
    <dgm:pt modelId="{52BF2EB3-D50B-4E77-A410-B24FF3893A10}" type="parTrans" cxnId="{E8B580AA-685E-453B-BA58-E712A24C91C7}">
      <dgm:prSet/>
      <dgm:spPr/>
      <dgm:t>
        <a:bodyPr/>
        <a:lstStyle/>
        <a:p>
          <a:endParaRPr lang="en-IN" sz="2400"/>
        </a:p>
      </dgm:t>
    </dgm:pt>
    <dgm:pt modelId="{7FF1BA07-828D-491C-BD6A-DF819B4DFD0B}" type="sibTrans" cxnId="{E8B580AA-685E-453B-BA58-E712A24C91C7}">
      <dgm:prSet/>
      <dgm:spPr/>
      <dgm:t>
        <a:bodyPr/>
        <a:lstStyle/>
        <a:p>
          <a:endParaRPr lang="en-IN" sz="2400"/>
        </a:p>
      </dgm:t>
    </dgm:pt>
    <dgm:pt modelId="{1A8FE1BD-4BE4-41A2-B564-9A68AB625D94}">
      <dgm:prSet custT="1"/>
      <dgm:spPr/>
      <dgm:t>
        <a:bodyPr/>
        <a:lstStyle/>
        <a:p>
          <a:r>
            <a:rPr lang="en-IN" sz="2400" dirty="0"/>
            <a:t>Resilient deployment</a:t>
          </a:r>
        </a:p>
      </dgm:t>
    </dgm:pt>
    <dgm:pt modelId="{9BBAA533-DF9D-4CC2-AEB9-DE77B907F379}" type="parTrans" cxnId="{C6DDC4B6-4244-4DDC-942A-CDA76800B3E0}">
      <dgm:prSet/>
      <dgm:spPr/>
      <dgm:t>
        <a:bodyPr/>
        <a:lstStyle/>
        <a:p>
          <a:endParaRPr lang="en-IN" sz="2400"/>
        </a:p>
      </dgm:t>
    </dgm:pt>
    <dgm:pt modelId="{D5C2E779-84E7-4E51-9013-B043E9D67604}" type="sibTrans" cxnId="{C6DDC4B6-4244-4DDC-942A-CDA76800B3E0}">
      <dgm:prSet/>
      <dgm:spPr/>
      <dgm:t>
        <a:bodyPr/>
        <a:lstStyle/>
        <a:p>
          <a:endParaRPr lang="en-IN" sz="2400"/>
        </a:p>
      </dgm:t>
    </dgm:pt>
    <dgm:pt modelId="{500D570A-21F6-4A2F-B7F4-063FEC06B016}">
      <dgm:prSet custT="1"/>
      <dgm:spPr/>
      <dgm:t>
        <a:bodyPr/>
        <a:lstStyle/>
        <a:p>
          <a:r>
            <a:rPr lang="en-IN" sz="2400" dirty="0"/>
            <a:t>Monitoring and diagnostics</a:t>
          </a:r>
        </a:p>
      </dgm:t>
    </dgm:pt>
    <dgm:pt modelId="{C86199C2-717F-43A7-98C3-4A06C32FD4EA}" type="parTrans" cxnId="{3D0AA02B-50AC-418B-AD0A-56F953680818}">
      <dgm:prSet/>
      <dgm:spPr/>
      <dgm:t>
        <a:bodyPr/>
        <a:lstStyle/>
        <a:p>
          <a:endParaRPr lang="en-IN" sz="2400"/>
        </a:p>
      </dgm:t>
    </dgm:pt>
    <dgm:pt modelId="{D221C8A1-01A1-45DE-9954-92B723B69A07}" type="sibTrans" cxnId="{3D0AA02B-50AC-418B-AD0A-56F953680818}">
      <dgm:prSet/>
      <dgm:spPr/>
      <dgm:t>
        <a:bodyPr/>
        <a:lstStyle/>
        <a:p>
          <a:endParaRPr lang="en-IN" sz="2400"/>
        </a:p>
      </dgm:t>
    </dgm:pt>
    <dgm:pt modelId="{0C757389-04A9-45F0-9334-CA6924A57BA4}">
      <dgm:prSet custT="1"/>
      <dgm:spPr/>
      <dgm:t>
        <a:bodyPr/>
        <a:lstStyle/>
        <a:p>
          <a:r>
            <a:rPr lang="en-IN" sz="2400" dirty="0"/>
            <a:t>Resilience for performance and scaling</a:t>
          </a:r>
        </a:p>
      </dgm:t>
    </dgm:pt>
    <dgm:pt modelId="{D594B4D2-611F-4161-8310-F3A59A1B425A}" type="parTrans" cxnId="{258AA524-32C6-4FE7-B176-DEBB9DCD6AD9}">
      <dgm:prSet/>
      <dgm:spPr/>
      <dgm:t>
        <a:bodyPr/>
        <a:lstStyle/>
        <a:p>
          <a:endParaRPr lang="en-US" sz="2400"/>
        </a:p>
      </dgm:t>
    </dgm:pt>
    <dgm:pt modelId="{3E417193-55C2-4C3F-9FBF-58C8854B234D}" type="sibTrans" cxnId="{258AA524-32C6-4FE7-B176-DEBB9DCD6AD9}">
      <dgm:prSet/>
      <dgm:spPr/>
      <dgm:t>
        <a:bodyPr/>
        <a:lstStyle/>
        <a:p>
          <a:endParaRPr lang="en-US" sz="2400"/>
        </a:p>
      </dgm:t>
    </dgm:pt>
    <dgm:pt modelId="{A1E97F67-D3BD-4BE0-B492-E732735A9715}" type="pres">
      <dgm:prSet presAssocID="{75C19A09-AAF6-4F86-99BA-931264211A35}" presName="Name0" presStyleCnt="0">
        <dgm:presLayoutVars>
          <dgm:chMax val="7"/>
          <dgm:chPref val="7"/>
          <dgm:dir/>
        </dgm:presLayoutVars>
      </dgm:prSet>
      <dgm:spPr/>
    </dgm:pt>
    <dgm:pt modelId="{4BED586E-33C3-4C85-9FF1-40FF0BE86F61}" type="pres">
      <dgm:prSet presAssocID="{75C19A09-AAF6-4F86-99BA-931264211A35}" presName="Name1" presStyleCnt="0"/>
      <dgm:spPr/>
    </dgm:pt>
    <dgm:pt modelId="{63D88BB0-CA15-48D6-8EF6-40E1F719BF35}" type="pres">
      <dgm:prSet presAssocID="{75C19A09-AAF6-4F86-99BA-931264211A35}" presName="cycle" presStyleCnt="0"/>
      <dgm:spPr/>
    </dgm:pt>
    <dgm:pt modelId="{A5F2ED4A-D28F-459B-84DC-9E70BD3F9501}" type="pres">
      <dgm:prSet presAssocID="{75C19A09-AAF6-4F86-99BA-931264211A35}" presName="srcNode" presStyleLbl="node1" presStyleIdx="0" presStyleCnt="7"/>
      <dgm:spPr/>
    </dgm:pt>
    <dgm:pt modelId="{39405269-BA25-4B2D-AA15-9AA248ABE307}" type="pres">
      <dgm:prSet presAssocID="{75C19A09-AAF6-4F86-99BA-931264211A35}" presName="conn" presStyleLbl="parChTrans1D2" presStyleIdx="0" presStyleCnt="1"/>
      <dgm:spPr/>
    </dgm:pt>
    <dgm:pt modelId="{6C850443-4F01-41BD-A31C-D388CD2567A5}" type="pres">
      <dgm:prSet presAssocID="{75C19A09-AAF6-4F86-99BA-931264211A35}" presName="extraNode" presStyleLbl="node1" presStyleIdx="0" presStyleCnt="7"/>
      <dgm:spPr/>
    </dgm:pt>
    <dgm:pt modelId="{9BFCA747-442D-4A58-BFFC-F16901F50173}" type="pres">
      <dgm:prSet presAssocID="{75C19A09-AAF6-4F86-99BA-931264211A35}" presName="dstNode" presStyleLbl="node1" presStyleIdx="0" presStyleCnt="7"/>
      <dgm:spPr/>
    </dgm:pt>
    <dgm:pt modelId="{9C4C6D6B-4950-48D5-BDE3-E5874FB380C9}" type="pres">
      <dgm:prSet presAssocID="{40DA65F3-CEAD-495B-BBC4-98315B876DDE}" presName="text_1" presStyleLbl="node1" presStyleIdx="0" presStyleCnt="7">
        <dgm:presLayoutVars>
          <dgm:bulletEnabled val="1"/>
        </dgm:presLayoutVars>
      </dgm:prSet>
      <dgm:spPr/>
    </dgm:pt>
    <dgm:pt modelId="{50BC621B-6113-44FE-B103-3893FF35D7F4}" type="pres">
      <dgm:prSet presAssocID="{40DA65F3-CEAD-495B-BBC4-98315B876DDE}" presName="accent_1" presStyleCnt="0"/>
      <dgm:spPr/>
    </dgm:pt>
    <dgm:pt modelId="{1DB66F02-57AA-4747-9384-7B0FEE797276}" type="pres">
      <dgm:prSet presAssocID="{40DA65F3-CEAD-495B-BBC4-98315B876DDE}" presName="accentRepeatNode" presStyleLbl="solidFgAcc1" presStyleIdx="0" presStyleCnt="7"/>
      <dgm:spPr/>
    </dgm:pt>
    <dgm:pt modelId="{A78A485B-02A2-4CC0-821C-9D13531FC916}" type="pres">
      <dgm:prSet presAssocID="{0145F99B-97EE-4471-BADB-0264E632915C}" presName="text_2" presStyleLbl="node1" presStyleIdx="1" presStyleCnt="7">
        <dgm:presLayoutVars>
          <dgm:bulletEnabled val="1"/>
        </dgm:presLayoutVars>
      </dgm:prSet>
      <dgm:spPr/>
    </dgm:pt>
    <dgm:pt modelId="{03A70507-7AA9-4E8E-9E49-3815C03F3139}" type="pres">
      <dgm:prSet presAssocID="{0145F99B-97EE-4471-BADB-0264E632915C}" presName="accent_2" presStyleCnt="0"/>
      <dgm:spPr/>
    </dgm:pt>
    <dgm:pt modelId="{AEA79138-BCBF-433A-9507-F186268905B9}" type="pres">
      <dgm:prSet presAssocID="{0145F99B-97EE-4471-BADB-0264E632915C}" presName="accentRepeatNode" presStyleLbl="solidFgAcc1" presStyleIdx="1" presStyleCnt="7"/>
      <dgm:spPr/>
    </dgm:pt>
    <dgm:pt modelId="{16BC9D8A-2ED1-4061-973B-900698721321}" type="pres">
      <dgm:prSet presAssocID="{29B04A40-BD24-4832-83AF-18111E6A522E}" presName="text_3" presStyleLbl="node1" presStyleIdx="2" presStyleCnt="7">
        <dgm:presLayoutVars>
          <dgm:bulletEnabled val="1"/>
        </dgm:presLayoutVars>
      </dgm:prSet>
      <dgm:spPr/>
    </dgm:pt>
    <dgm:pt modelId="{5CF832A5-1DC6-41FC-BC0F-DB64EFAD6EF9}" type="pres">
      <dgm:prSet presAssocID="{29B04A40-BD24-4832-83AF-18111E6A522E}" presName="accent_3" presStyleCnt="0"/>
      <dgm:spPr/>
    </dgm:pt>
    <dgm:pt modelId="{58DA49A1-74C0-469D-B7C1-33BC419EFBF0}" type="pres">
      <dgm:prSet presAssocID="{29B04A40-BD24-4832-83AF-18111E6A522E}" presName="accentRepeatNode" presStyleLbl="solidFgAcc1" presStyleIdx="2" presStyleCnt="7"/>
      <dgm:spPr/>
    </dgm:pt>
    <dgm:pt modelId="{313F2344-D951-4864-BBE7-D26919306840}" type="pres">
      <dgm:prSet presAssocID="{E1E65ABF-33BF-4DA1-88A8-1D627644C48B}" presName="text_4" presStyleLbl="node1" presStyleIdx="3" presStyleCnt="7">
        <dgm:presLayoutVars>
          <dgm:bulletEnabled val="1"/>
        </dgm:presLayoutVars>
      </dgm:prSet>
      <dgm:spPr/>
    </dgm:pt>
    <dgm:pt modelId="{042DB785-47F9-4F5B-A1E0-841FDC66CE8D}" type="pres">
      <dgm:prSet presAssocID="{E1E65ABF-33BF-4DA1-88A8-1D627644C48B}" presName="accent_4" presStyleCnt="0"/>
      <dgm:spPr/>
    </dgm:pt>
    <dgm:pt modelId="{6D92BF18-A7D0-4A5B-9BFC-E13B5C4821D8}" type="pres">
      <dgm:prSet presAssocID="{E1E65ABF-33BF-4DA1-88A8-1D627644C48B}" presName="accentRepeatNode" presStyleLbl="solidFgAcc1" presStyleIdx="3" presStyleCnt="7"/>
      <dgm:spPr/>
    </dgm:pt>
    <dgm:pt modelId="{D708D2E4-5853-488D-BAA9-4BF68639AAFC}" type="pres">
      <dgm:prSet presAssocID="{0C757389-04A9-45F0-9334-CA6924A57BA4}" presName="text_5" presStyleLbl="node1" presStyleIdx="4" presStyleCnt="7">
        <dgm:presLayoutVars>
          <dgm:bulletEnabled val="1"/>
        </dgm:presLayoutVars>
      </dgm:prSet>
      <dgm:spPr/>
    </dgm:pt>
    <dgm:pt modelId="{C58CF82A-A15F-4436-BB95-378E8DF92921}" type="pres">
      <dgm:prSet presAssocID="{0C757389-04A9-45F0-9334-CA6924A57BA4}" presName="accent_5" presStyleCnt="0"/>
      <dgm:spPr/>
    </dgm:pt>
    <dgm:pt modelId="{50A1FA9E-7351-4A2D-9724-47A51E151C38}" type="pres">
      <dgm:prSet presAssocID="{0C757389-04A9-45F0-9334-CA6924A57BA4}" presName="accentRepeatNode" presStyleLbl="solidFgAcc1" presStyleIdx="4" presStyleCnt="7"/>
      <dgm:spPr/>
    </dgm:pt>
    <dgm:pt modelId="{8A78D0BE-5D22-48D2-A842-1C174874D45B}" type="pres">
      <dgm:prSet presAssocID="{1A8FE1BD-4BE4-41A2-B564-9A68AB625D94}" presName="text_6" presStyleLbl="node1" presStyleIdx="5" presStyleCnt="7">
        <dgm:presLayoutVars>
          <dgm:bulletEnabled val="1"/>
        </dgm:presLayoutVars>
      </dgm:prSet>
      <dgm:spPr/>
    </dgm:pt>
    <dgm:pt modelId="{CB00A2DF-384D-4838-91FD-7B8C740F023C}" type="pres">
      <dgm:prSet presAssocID="{1A8FE1BD-4BE4-41A2-B564-9A68AB625D94}" presName="accent_6" presStyleCnt="0"/>
      <dgm:spPr/>
    </dgm:pt>
    <dgm:pt modelId="{743E73AB-0376-4271-A6A4-B8EDAB951377}" type="pres">
      <dgm:prSet presAssocID="{1A8FE1BD-4BE4-41A2-B564-9A68AB625D94}" presName="accentRepeatNode" presStyleLbl="solidFgAcc1" presStyleIdx="5" presStyleCnt="7"/>
      <dgm:spPr/>
    </dgm:pt>
    <dgm:pt modelId="{7477B4BC-5D95-4EDB-B8D4-0B21218232C9}" type="pres">
      <dgm:prSet presAssocID="{500D570A-21F6-4A2F-B7F4-063FEC06B016}" presName="text_7" presStyleLbl="node1" presStyleIdx="6" presStyleCnt="7">
        <dgm:presLayoutVars>
          <dgm:bulletEnabled val="1"/>
        </dgm:presLayoutVars>
      </dgm:prSet>
      <dgm:spPr/>
    </dgm:pt>
    <dgm:pt modelId="{27B0F1BC-2712-4FF5-9A0A-FC611A729DE3}" type="pres">
      <dgm:prSet presAssocID="{500D570A-21F6-4A2F-B7F4-063FEC06B016}" presName="accent_7" presStyleCnt="0"/>
      <dgm:spPr/>
    </dgm:pt>
    <dgm:pt modelId="{FEDBD96E-D943-44ED-909B-75D2614F1D95}" type="pres">
      <dgm:prSet presAssocID="{500D570A-21F6-4A2F-B7F4-063FEC06B016}" presName="accentRepeatNode" presStyleLbl="solidFgAcc1" presStyleIdx="6" presStyleCnt="7"/>
      <dgm:spPr/>
    </dgm:pt>
  </dgm:ptLst>
  <dgm:cxnLst>
    <dgm:cxn modelId="{43BEBD21-30D0-42D6-A650-D7904362BF95}" type="presOf" srcId="{19020B4B-A650-45BC-9835-8032E13666A2}" destId="{39405269-BA25-4B2D-AA15-9AA248ABE307}" srcOrd="0" destOrd="0" presId="urn:microsoft.com/office/officeart/2008/layout/VerticalCurvedList"/>
    <dgm:cxn modelId="{9CCA1D23-DEF8-4E09-BE4E-B5922E06ECE2}" srcId="{75C19A09-AAF6-4F86-99BA-931264211A35}" destId="{0145F99B-97EE-4471-BADB-0264E632915C}" srcOrd="1" destOrd="0" parTransId="{52685617-7699-4C22-8EA0-FE4C484025C6}" sibTransId="{F683556E-812E-4ECB-9F55-B228EFA67B9C}"/>
    <dgm:cxn modelId="{258AA524-32C6-4FE7-B176-DEBB9DCD6AD9}" srcId="{75C19A09-AAF6-4F86-99BA-931264211A35}" destId="{0C757389-04A9-45F0-9334-CA6924A57BA4}" srcOrd="4" destOrd="0" parTransId="{D594B4D2-611F-4161-8310-F3A59A1B425A}" sibTransId="{3E417193-55C2-4C3F-9FBF-58C8854B234D}"/>
    <dgm:cxn modelId="{3D0AA02B-50AC-418B-AD0A-56F953680818}" srcId="{75C19A09-AAF6-4F86-99BA-931264211A35}" destId="{500D570A-21F6-4A2F-B7F4-063FEC06B016}" srcOrd="6" destOrd="0" parTransId="{C86199C2-717F-43A7-98C3-4A06C32FD4EA}" sibTransId="{D221C8A1-01A1-45DE-9954-92B723B69A07}"/>
    <dgm:cxn modelId="{1857964B-5D1E-4598-ACEA-1A2E74813385}" type="presOf" srcId="{500D570A-21F6-4A2F-B7F4-063FEC06B016}" destId="{7477B4BC-5D95-4EDB-B8D4-0B21218232C9}" srcOrd="0" destOrd="0" presId="urn:microsoft.com/office/officeart/2008/layout/VerticalCurvedList"/>
    <dgm:cxn modelId="{F7E2564E-13FB-4373-9AB5-34AE4A4CAEEB}" type="presOf" srcId="{75C19A09-AAF6-4F86-99BA-931264211A35}" destId="{A1E97F67-D3BD-4BE0-B492-E732735A9715}" srcOrd="0" destOrd="0" presId="urn:microsoft.com/office/officeart/2008/layout/VerticalCurvedList"/>
    <dgm:cxn modelId="{3A788D57-7D88-4DD4-93DF-38F234B32497}" type="presOf" srcId="{E1E65ABF-33BF-4DA1-88A8-1D627644C48B}" destId="{313F2344-D951-4864-BBE7-D26919306840}" srcOrd="0" destOrd="0" presId="urn:microsoft.com/office/officeart/2008/layout/VerticalCurvedList"/>
    <dgm:cxn modelId="{D993337E-914A-4EFC-9941-8DA66E1AB339}" type="presOf" srcId="{1A8FE1BD-4BE4-41A2-B564-9A68AB625D94}" destId="{8A78D0BE-5D22-48D2-A842-1C174874D45B}" srcOrd="0" destOrd="0" presId="urn:microsoft.com/office/officeart/2008/layout/VerticalCurvedList"/>
    <dgm:cxn modelId="{973B2091-E2A0-4882-862F-B81F38717CD7}" srcId="{75C19A09-AAF6-4F86-99BA-931264211A35}" destId="{40DA65F3-CEAD-495B-BBC4-98315B876DDE}" srcOrd="0" destOrd="0" parTransId="{6F5BD775-3CC0-4FF9-B5AF-85A2445AAADC}" sibTransId="{19020B4B-A650-45BC-9835-8032E13666A2}"/>
    <dgm:cxn modelId="{8936CEA2-BFDD-4692-902F-9E7ED721C364}" type="presOf" srcId="{40DA65F3-CEAD-495B-BBC4-98315B876DDE}" destId="{9C4C6D6B-4950-48D5-BDE3-E5874FB380C9}" srcOrd="0" destOrd="0" presId="urn:microsoft.com/office/officeart/2008/layout/VerticalCurvedList"/>
    <dgm:cxn modelId="{E8B580AA-685E-453B-BA58-E712A24C91C7}" srcId="{75C19A09-AAF6-4F86-99BA-931264211A35}" destId="{E1E65ABF-33BF-4DA1-88A8-1D627644C48B}" srcOrd="3" destOrd="0" parTransId="{52BF2EB3-D50B-4E77-A410-B24FF3893A10}" sibTransId="{7FF1BA07-828D-491C-BD6A-DF819B4DFD0B}"/>
    <dgm:cxn modelId="{C6DDC4B6-4244-4DDC-942A-CDA76800B3E0}" srcId="{75C19A09-AAF6-4F86-99BA-931264211A35}" destId="{1A8FE1BD-4BE4-41A2-B564-9A68AB625D94}" srcOrd="5" destOrd="0" parTransId="{9BBAA533-DF9D-4CC2-AEB9-DE77B907F379}" sibTransId="{D5C2E779-84E7-4E51-9013-B043E9D67604}"/>
    <dgm:cxn modelId="{12CA66C5-598B-4162-BD45-F4FC86065D3C}" type="presOf" srcId="{29B04A40-BD24-4832-83AF-18111E6A522E}" destId="{16BC9D8A-2ED1-4061-973B-900698721321}" srcOrd="0" destOrd="0" presId="urn:microsoft.com/office/officeart/2008/layout/VerticalCurvedList"/>
    <dgm:cxn modelId="{E09AC3E0-798D-4ED7-B0CD-C2105D286B14}" type="presOf" srcId="{0145F99B-97EE-4471-BADB-0264E632915C}" destId="{A78A485B-02A2-4CC0-821C-9D13531FC916}" srcOrd="0" destOrd="0" presId="urn:microsoft.com/office/officeart/2008/layout/VerticalCurvedList"/>
    <dgm:cxn modelId="{5D491FE4-99F7-4D95-8400-B9177A3003ED}" srcId="{75C19A09-AAF6-4F86-99BA-931264211A35}" destId="{29B04A40-BD24-4832-83AF-18111E6A522E}" srcOrd="2" destOrd="0" parTransId="{11F472DE-81D1-45DF-ABE2-A79FDB6F210C}" sibTransId="{5FA80CB6-5D44-42F3-8ED3-E4332787A8B8}"/>
    <dgm:cxn modelId="{02262CE4-9DB6-4193-AFF1-97AE5E9DA68D}" type="presOf" srcId="{0C757389-04A9-45F0-9334-CA6924A57BA4}" destId="{D708D2E4-5853-488D-BAA9-4BF68639AAFC}" srcOrd="0" destOrd="0" presId="urn:microsoft.com/office/officeart/2008/layout/VerticalCurvedList"/>
    <dgm:cxn modelId="{2C33D7A0-A61D-49EA-8D02-F6EE24CE576F}" type="presParOf" srcId="{A1E97F67-D3BD-4BE0-B492-E732735A9715}" destId="{4BED586E-33C3-4C85-9FF1-40FF0BE86F61}" srcOrd="0" destOrd="0" presId="urn:microsoft.com/office/officeart/2008/layout/VerticalCurvedList"/>
    <dgm:cxn modelId="{4476E5FF-761D-46C0-9A5C-4706C526A782}" type="presParOf" srcId="{4BED586E-33C3-4C85-9FF1-40FF0BE86F61}" destId="{63D88BB0-CA15-48D6-8EF6-40E1F719BF35}" srcOrd="0" destOrd="0" presId="urn:microsoft.com/office/officeart/2008/layout/VerticalCurvedList"/>
    <dgm:cxn modelId="{75FA88D0-078D-4C8F-99D0-838C66477ACB}" type="presParOf" srcId="{63D88BB0-CA15-48D6-8EF6-40E1F719BF35}" destId="{A5F2ED4A-D28F-459B-84DC-9E70BD3F9501}" srcOrd="0" destOrd="0" presId="urn:microsoft.com/office/officeart/2008/layout/VerticalCurvedList"/>
    <dgm:cxn modelId="{F23AA903-0773-456C-B6B1-EAA9F2A77C3F}" type="presParOf" srcId="{63D88BB0-CA15-48D6-8EF6-40E1F719BF35}" destId="{39405269-BA25-4B2D-AA15-9AA248ABE307}" srcOrd="1" destOrd="0" presId="urn:microsoft.com/office/officeart/2008/layout/VerticalCurvedList"/>
    <dgm:cxn modelId="{61EE86FD-978D-4099-8309-84B2643C6B2F}" type="presParOf" srcId="{63D88BB0-CA15-48D6-8EF6-40E1F719BF35}" destId="{6C850443-4F01-41BD-A31C-D388CD2567A5}" srcOrd="2" destOrd="0" presId="urn:microsoft.com/office/officeart/2008/layout/VerticalCurvedList"/>
    <dgm:cxn modelId="{6FF65284-7A00-4DAC-ABD4-7263BCBF5648}" type="presParOf" srcId="{63D88BB0-CA15-48D6-8EF6-40E1F719BF35}" destId="{9BFCA747-442D-4A58-BFFC-F16901F50173}" srcOrd="3" destOrd="0" presId="urn:microsoft.com/office/officeart/2008/layout/VerticalCurvedList"/>
    <dgm:cxn modelId="{4A547F05-2B72-44A1-9292-716B990CF894}" type="presParOf" srcId="{4BED586E-33C3-4C85-9FF1-40FF0BE86F61}" destId="{9C4C6D6B-4950-48D5-BDE3-E5874FB380C9}" srcOrd="1" destOrd="0" presId="urn:microsoft.com/office/officeart/2008/layout/VerticalCurvedList"/>
    <dgm:cxn modelId="{979A6996-8BA9-48AD-AF72-62CD0E0D3BFB}" type="presParOf" srcId="{4BED586E-33C3-4C85-9FF1-40FF0BE86F61}" destId="{50BC621B-6113-44FE-B103-3893FF35D7F4}" srcOrd="2" destOrd="0" presId="urn:microsoft.com/office/officeart/2008/layout/VerticalCurvedList"/>
    <dgm:cxn modelId="{E33CB700-AB21-4D54-8314-2B53EB0AEF47}" type="presParOf" srcId="{50BC621B-6113-44FE-B103-3893FF35D7F4}" destId="{1DB66F02-57AA-4747-9384-7B0FEE797276}" srcOrd="0" destOrd="0" presId="urn:microsoft.com/office/officeart/2008/layout/VerticalCurvedList"/>
    <dgm:cxn modelId="{BEED091E-E829-49E6-B34D-757E8E750ECE}" type="presParOf" srcId="{4BED586E-33C3-4C85-9FF1-40FF0BE86F61}" destId="{A78A485B-02A2-4CC0-821C-9D13531FC916}" srcOrd="3" destOrd="0" presId="urn:microsoft.com/office/officeart/2008/layout/VerticalCurvedList"/>
    <dgm:cxn modelId="{1EF47C8C-7B04-42CE-9604-D0C7EDEEC93A}" type="presParOf" srcId="{4BED586E-33C3-4C85-9FF1-40FF0BE86F61}" destId="{03A70507-7AA9-4E8E-9E49-3815C03F3139}" srcOrd="4" destOrd="0" presId="urn:microsoft.com/office/officeart/2008/layout/VerticalCurvedList"/>
    <dgm:cxn modelId="{C4AD9B9A-159B-4B38-AB9B-20CF4D7541EB}" type="presParOf" srcId="{03A70507-7AA9-4E8E-9E49-3815C03F3139}" destId="{AEA79138-BCBF-433A-9507-F186268905B9}" srcOrd="0" destOrd="0" presId="urn:microsoft.com/office/officeart/2008/layout/VerticalCurvedList"/>
    <dgm:cxn modelId="{EF8054FC-CD74-429B-84BB-60E5B9E8F03B}" type="presParOf" srcId="{4BED586E-33C3-4C85-9FF1-40FF0BE86F61}" destId="{16BC9D8A-2ED1-4061-973B-900698721321}" srcOrd="5" destOrd="0" presId="urn:microsoft.com/office/officeart/2008/layout/VerticalCurvedList"/>
    <dgm:cxn modelId="{7A03D5B1-A002-4571-95A5-BD617DC58327}" type="presParOf" srcId="{4BED586E-33C3-4C85-9FF1-40FF0BE86F61}" destId="{5CF832A5-1DC6-41FC-BC0F-DB64EFAD6EF9}" srcOrd="6" destOrd="0" presId="urn:microsoft.com/office/officeart/2008/layout/VerticalCurvedList"/>
    <dgm:cxn modelId="{F21111BF-C1DA-4F88-9AE4-437AF7CE9A3B}" type="presParOf" srcId="{5CF832A5-1DC6-41FC-BC0F-DB64EFAD6EF9}" destId="{58DA49A1-74C0-469D-B7C1-33BC419EFBF0}" srcOrd="0" destOrd="0" presId="urn:microsoft.com/office/officeart/2008/layout/VerticalCurvedList"/>
    <dgm:cxn modelId="{CD8188BF-F135-418E-968E-0492B981B703}" type="presParOf" srcId="{4BED586E-33C3-4C85-9FF1-40FF0BE86F61}" destId="{313F2344-D951-4864-BBE7-D26919306840}" srcOrd="7" destOrd="0" presId="urn:microsoft.com/office/officeart/2008/layout/VerticalCurvedList"/>
    <dgm:cxn modelId="{D5A30CBF-0130-40AB-8756-0BB760826075}" type="presParOf" srcId="{4BED586E-33C3-4C85-9FF1-40FF0BE86F61}" destId="{042DB785-47F9-4F5B-A1E0-841FDC66CE8D}" srcOrd="8" destOrd="0" presId="urn:microsoft.com/office/officeart/2008/layout/VerticalCurvedList"/>
    <dgm:cxn modelId="{858E39DA-0E0F-4851-A98B-14F981BF4C27}" type="presParOf" srcId="{042DB785-47F9-4F5B-A1E0-841FDC66CE8D}" destId="{6D92BF18-A7D0-4A5B-9BFC-E13B5C4821D8}" srcOrd="0" destOrd="0" presId="urn:microsoft.com/office/officeart/2008/layout/VerticalCurvedList"/>
    <dgm:cxn modelId="{C02CC8BC-48E9-4948-9CE8-3867FD5D12D3}" type="presParOf" srcId="{4BED586E-33C3-4C85-9FF1-40FF0BE86F61}" destId="{D708D2E4-5853-488D-BAA9-4BF68639AAFC}" srcOrd="9" destOrd="0" presId="urn:microsoft.com/office/officeart/2008/layout/VerticalCurvedList"/>
    <dgm:cxn modelId="{682D0280-9ADC-45A1-8C3A-9BE91B9B2DAF}" type="presParOf" srcId="{4BED586E-33C3-4C85-9FF1-40FF0BE86F61}" destId="{C58CF82A-A15F-4436-BB95-378E8DF92921}" srcOrd="10" destOrd="0" presId="urn:microsoft.com/office/officeart/2008/layout/VerticalCurvedList"/>
    <dgm:cxn modelId="{A84A7637-FA15-4E1C-9160-157218D567C3}" type="presParOf" srcId="{C58CF82A-A15F-4436-BB95-378E8DF92921}" destId="{50A1FA9E-7351-4A2D-9724-47A51E151C38}" srcOrd="0" destOrd="0" presId="urn:microsoft.com/office/officeart/2008/layout/VerticalCurvedList"/>
    <dgm:cxn modelId="{BDFC66B8-89A8-4944-A05B-BCE37AEF17FD}" type="presParOf" srcId="{4BED586E-33C3-4C85-9FF1-40FF0BE86F61}" destId="{8A78D0BE-5D22-48D2-A842-1C174874D45B}" srcOrd="11" destOrd="0" presId="urn:microsoft.com/office/officeart/2008/layout/VerticalCurvedList"/>
    <dgm:cxn modelId="{73E56EF4-F221-4559-B866-3179E60228E8}" type="presParOf" srcId="{4BED586E-33C3-4C85-9FF1-40FF0BE86F61}" destId="{CB00A2DF-384D-4838-91FD-7B8C740F023C}" srcOrd="12" destOrd="0" presId="urn:microsoft.com/office/officeart/2008/layout/VerticalCurvedList"/>
    <dgm:cxn modelId="{DBF52C40-86C2-4F06-B241-512C43DD9654}" type="presParOf" srcId="{CB00A2DF-384D-4838-91FD-7B8C740F023C}" destId="{743E73AB-0376-4271-A6A4-B8EDAB951377}" srcOrd="0" destOrd="0" presId="urn:microsoft.com/office/officeart/2008/layout/VerticalCurvedList"/>
    <dgm:cxn modelId="{1E3C636E-AA1F-48FB-A8D9-DCB5BC6ED268}" type="presParOf" srcId="{4BED586E-33C3-4C85-9FF1-40FF0BE86F61}" destId="{7477B4BC-5D95-4EDB-B8D4-0B21218232C9}" srcOrd="13" destOrd="0" presId="urn:microsoft.com/office/officeart/2008/layout/VerticalCurvedList"/>
    <dgm:cxn modelId="{BFC8EB54-D4DC-4B19-997C-AF1A4DDB0F1D}" type="presParOf" srcId="{4BED586E-33C3-4C85-9FF1-40FF0BE86F61}" destId="{27B0F1BC-2712-4FF5-9A0A-FC611A729DE3}" srcOrd="14" destOrd="0" presId="urn:microsoft.com/office/officeart/2008/layout/VerticalCurvedList"/>
    <dgm:cxn modelId="{E4669C28-BBF6-4DA5-AB5F-57555093CA2A}" type="presParOf" srcId="{27B0F1BC-2712-4FF5-9A0A-FC611A729DE3}" destId="{FEDBD96E-D943-44ED-909B-75D2614F1D9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D3E763-C69A-4517-9D03-1A118A62A35A}" type="doc">
      <dgm:prSet loTypeId="urn:microsoft.com/office/officeart/2005/8/layout/bProcess3" loCatId="process" qsTypeId="urn:microsoft.com/office/officeart/2005/8/quickstyle/simple4" qsCatId="simple" csTypeId="urn:microsoft.com/office/officeart/2005/8/colors/accent0_3" csCatId="mainScheme" phldr="1"/>
      <dgm:spPr/>
      <dgm:t>
        <a:bodyPr/>
        <a:lstStyle/>
        <a:p>
          <a:endParaRPr lang="en-IN"/>
        </a:p>
      </dgm:t>
    </dgm:pt>
    <dgm:pt modelId="{EF18B75E-A341-4097-897B-D2E6763E3BA4}">
      <dgm:prSet/>
      <dgm:spPr/>
      <dgm:t>
        <a:bodyPr/>
        <a:lstStyle/>
        <a:p>
          <a:r>
            <a:rPr lang="en-IN" dirty="0"/>
            <a:t>Define</a:t>
          </a:r>
        </a:p>
        <a:p>
          <a:r>
            <a:rPr lang="en-IN" dirty="0"/>
            <a:t>Resiliency Requirements based on business needs</a:t>
          </a:r>
        </a:p>
      </dgm:t>
    </dgm:pt>
    <dgm:pt modelId="{4F3307B5-3493-44CC-9771-454E51B5C20C}" type="parTrans" cxnId="{3584735E-3582-4B73-A1EF-6EFC2F1F00D3}">
      <dgm:prSet/>
      <dgm:spPr/>
      <dgm:t>
        <a:bodyPr/>
        <a:lstStyle/>
        <a:p>
          <a:endParaRPr lang="en-IN"/>
        </a:p>
      </dgm:t>
    </dgm:pt>
    <dgm:pt modelId="{77DFA146-2F89-4E73-9228-85EB196863B3}" type="sibTrans" cxnId="{3584735E-3582-4B73-A1EF-6EFC2F1F00D3}">
      <dgm:prSet/>
      <dgm:spPr/>
      <dgm:t>
        <a:bodyPr/>
        <a:lstStyle/>
        <a:p>
          <a:endParaRPr lang="en-IN"/>
        </a:p>
      </dgm:t>
    </dgm:pt>
    <dgm:pt modelId="{AE6D8852-E4E2-43D4-B045-F3DC28D02940}">
      <dgm:prSet/>
      <dgm:spPr/>
      <dgm:t>
        <a:bodyPr/>
        <a:lstStyle/>
        <a:p>
          <a:r>
            <a:rPr lang="en-IN" dirty="0"/>
            <a:t>Design</a:t>
          </a:r>
        </a:p>
        <a:p>
          <a:r>
            <a:rPr lang="en-IN" dirty="0"/>
            <a:t>Design app for resilience, start with best practices and tried out patterns, evaluate and detect failure points </a:t>
          </a:r>
        </a:p>
      </dgm:t>
    </dgm:pt>
    <dgm:pt modelId="{D79790BE-EC1B-4F3D-B757-42F4A0CF1B92}" type="parTrans" cxnId="{7D9B2EF0-3A48-4C42-B7F5-2C05BF361B9E}">
      <dgm:prSet/>
      <dgm:spPr/>
      <dgm:t>
        <a:bodyPr/>
        <a:lstStyle/>
        <a:p>
          <a:endParaRPr lang="en-IN"/>
        </a:p>
      </dgm:t>
    </dgm:pt>
    <dgm:pt modelId="{6D491269-5AD8-4F75-9C12-78E209BCF64D}" type="sibTrans" cxnId="{7D9B2EF0-3A48-4C42-B7F5-2C05BF361B9E}">
      <dgm:prSet/>
      <dgm:spPr/>
      <dgm:t>
        <a:bodyPr/>
        <a:lstStyle/>
        <a:p>
          <a:endParaRPr lang="en-IN"/>
        </a:p>
      </dgm:t>
    </dgm:pt>
    <dgm:pt modelId="{CF217BB6-D007-4820-B284-D636374A3253}">
      <dgm:prSet/>
      <dgm:spPr/>
      <dgm:t>
        <a:bodyPr/>
        <a:lstStyle/>
        <a:p>
          <a:r>
            <a:rPr lang="en-IN" dirty="0"/>
            <a:t>Implement</a:t>
          </a:r>
        </a:p>
        <a:p>
          <a:r>
            <a:rPr lang="en-IN" dirty="0"/>
            <a:t>Strategy to detect and recover from failure</a:t>
          </a:r>
        </a:p>
      </dgm:t>
    </dgm:pt>
    <dgm:pt modelId="{D66E4A07-A2A5-45CC-B427-E5DBF1FF46A6}" type="parTrans" cxnId="{589ADFA6-9287-4848-BE1E-BDD978956B17}">
      <dgm:prSet/>
      <dgm:spPr/>
      <dgm:t>
        <a:bodyPr/>
        <a:lstStyle/>
        <a:p>
          <a:endParaRPr lang="en-IN"/>
        </a:p>
      </dgm:t>
    </dgm:pt>
    <dgm:pt modelId="{7FCAFB2B-5EBC-4148-9493-378A149C2C2D}" type="sibTrans" cxnId="{589ADFA6-9287-4848-BE1E-BDD978956B17}">
      <dgm:prSet/>
      <dgm:spPr/>
      <dgm:t>
        <a:bodyPr/>
        <a:lstStyle/>
        <a:p>
          <a:endParaRPr lang="en-IN"/>
        </a:p>
      </dgm:t>
    </dgm:pt>
    <dgm:pt modelId="{45C2A3BB-2319-4285-AC76-C47CC54444F6}">
      <dgm:prSet/>
      <dgm:spPr/>
      <dgm:t>
        <a:bodyPr/>
        <a:lstStyle/>
        <a:p>
          <a:r>
            <a:rPr lang="en-IN" dirty="0"/>
            <a:t>Test</a:t>
          </a:r>
        </a:p>
        <a:p>
          <a:r>
            <a:rPr lang="en-IN" dirty="0"/>
            <a:t>Simulate faults and trigger forced failovers</a:t>
          </a:r>
        </a:p>
      </dgm:t>
    </dgm:pt>
    <dgm:pt modelId="{5B8D416C-7187-4AA1-B8D7-23A1153B6148}" type="parTrans" cxnId="{9297C1D2-E6A6-41E7-A450-307F13A12BAD}">
      <dgm:prSet/>
      <dgm:spPr/>
      <dgm:t>
        <a:bodyPr/>
        <a:lstStyle/>
        <a:p>
          <a:endParaRPr lang="en-IN"/>
        </a:p>
      </dgm:t>
    </dgm:pt>
    <dgm:pt modelId="{D27F14E3-0D59-44D6-8280-9D00E99B7FE0}" type="sibTrans" cxnId="{9297C1D2-E6A6-41E7-A450-307F13A12BAD}">
      <dgm:prSet/>
      <dgm:spPr/>
      <dgm:t>
        <a:bodyPr/>
        <a:lstStyle/>
        <a:p>
          <a:endParaRPr lang="en-IN"/>
        </a:p>
      </dgm:t>
    </dgm:pt>
    <dgm:pt modelId="{36C5FB06-EDCF-42FE-912E-61E18BB76230}">
      <dgm:prSet/>
      <dgm:spPr/>
      <dgm:t>
        <a:bodyPr/>
        <a:lstStyle/>
        <a:p>
          <a:r>
            <a:rPr lang="en-IN" dirty="0"/>
            <a:t>Deploy</a:t>
          </a:r>
        </a:p>
        <a:p>
          <a:r>
            <a:rPr lang="en-IN" dirty="0"/>
            <a:t>Build reliability in the deployment process</a:t>
          </a:r>
        </a:p>
      </dgm:t>
    </dgm:pt>
    <dgm:pt modelId="{199870C5-EFF2-4888-96F1-32E0E884BBB6}" type="parTrans" cxnId="{A1C49216-0A36-4A7C-8853-86AC6E5DC636}">
      <dgm:prSet/>
      <dgm:spPr/>
      <dgm:t>
        <a:bodyPr/>
        <a:lstStyle/>
        <a:p>
          <a:endParaRPr lang="en-IN"/>
        </a:p>
      </dgm:t>
    </dgm:pt>
    <dgm:pt modelId="{75CD3F3F-7A39-4629-841F-92ED6A97A4FD}" type="sibTrans" cxnId="{A1C49216-0A36-4A7C-8853-86AC6E5DC636}">
      <dgm:prSet/>
      <dgm:spPr/>
      <dgm:t>
        <a:bodyPr/>
        <a:lstStyle/>
        <a:p>
          <a:endParaRPr lang="en-IN"/>
        </a:p>
      </dgm:t>
    </dgm:pt>
    <dgm:pt modelId="{CAA80C15-A306-4FC0-AF65-2CB4F6C6DA5D}">
      <dgm:prSet/>
      <dgm:spPr/>
      <dgm:t>
        <a:bodyPr/>
        <a:lstStyle/>
        <a:p>
          <a:r>
            <a:rPr lang="en-IN" dirty="0"/>
            <a:t>Monitor</a:t>
          </a:r>
        </a:p>
        <a:p>
          <a:r>
            <a:rPr lang="en-IN" dirty="0"/>
            <a:t>Monitor for failure, gauge the health and respond to incidents</a:t>
          </a:r>
        </a:p>
      </dgm:t>
    </dgm:pt>
    <dgm:pt modelId="{92096267-0657-40C8-980F-C4B7E791A182}" type="parTrans" cxnId="{3D4D1F25-5448-404F-A5FF-2BF7B93FE791}">
      <dgm:prSet/>
      <dgm:spPr/>
      <dgm:t>
        <a:bodyPr/>
        <a:lstStyle/>
        <a:p>
          <a:endParaRPr lang="en-IN"/>
        </a:p>
      </dgm:t>
    </dgm:pt>
    <dgm:pt modelId="{9ABA3E6F-67F0-43EB-9AC4-EBB61F0C1847}" type="sibTrans" cxnId="{3D4D1F25-5448-404F-A5FF-2BF7B93FE791}">
      <dgm:prSet/>
      <dgm:spPr/>
      <dgm:t>
        <a:bodyPr/>
        <a:lstStyle/>
        <a:p>
          <a:endParaRPr lang="en-IN"/>
        </a:p>
      </dgm:t>
    </dgm:pt>
    <dgm:pt modelId="{64D3FC23-C8AE-4832-829C-5F82DC590479}">
      <dgm:prSet/>
      <dgm:spPr/>
      <dgm:t>
        <a:bodyPr/>
        <a:lstStyle/>
        <a:p>
          <a:r>
            <a:rPr lang="en-IN" dirty="0"/>
            <a:t>Respond</a:t>
          </a:r>
        </a:p>
        <a:p>
          <a:r>
            <a:rPr lang="en-IN" dirty="0"/>
            <a:t>Incidents may require manual interventions</a:t>
          </a:r>
        </a:p>
      </dgm:t>
    </dgm:pt>
    <dgm:pt modelId="{73067318-CFDE-4F9F-86CA-865D8CF958D7}" type="parTrans" cxnId="{8D5B01ED-0970-459E-87D8-A4E236074B0C}">
      <dgm:prSet/>
      <dgm:spPr/>
      <dgm:t>
        <a:bodyPr/>
        <a:lstStyle/>
        <a:p>
          <a:endParaRPr lang="en-IN"/>
        </a:p>
      </dgm:t>
    </dgm:pt>
    <dgm:pt modelId="{5BD0426C-E5E0-4BC6-B364-C5AA1736C134}" type="sibTrans" cxnId="{8D5B01ED-0970-459E-87D8-A4E236074B0C}">
      <dgm:prSet/>
      <dgm:spPr/>
      <dgm:t>
        <a:bodyPr/>
        <a:lstStyle/>
        <a:p>
          <a:endParaRPr lang="en-IN"/>
        </a:p>
      </dgm:t>
    </dgm:pt>
    <dgm:pt modelId="{E78F7D81-ED2D-4180-8B07-D4D7454EF01D}" type="pres">
      <dgm:prSet presAssocID="{5ED3E763-C69A-4517-9D03-1A118A62A35A}" presName="Name0" presStyleCnt="0">
        <dgm:presLayoutVars>
          <dgm:dir/>
          <dgm:resizeHandles val="exact"/>
        </dgm:presLayoutVars>
      </dgm:prSet>
      <dgm:spPr/>
    </dgm:pt>
    <dgm:pt modelId="{4DF4C5BC-E579-41C1-878B-0800E02C5298}" type="pres">
      <dgm:prSet presAssocID="{EF18B75E-A341-4097-897B-D2E6763E3BA4}" presName="node" presStyleLbl="node1" presStyleIdx="0" presStyleCnt="7">
        <dgm:presLayoutVars>
          <dgm:bulletEnabled val="1"/>
        </dgm:presLayoutVars>
      </dgm:prSet>
      <dgm:spPr/>
    </dgm:pt>
    <dgm:pt modelId="{3FFD5072-14A4-485B-9BDA-45936FE77C10}" type="pres">
      <dgm:prSet presAssocID="{77DFA146-2F89-4E73-9228-85EB196863B3}" presName="sibTrans" presStyleLbl="sibTrans1D1" presStyleIdx="0" presStyleCnt="6"/>
      <dgm:spPr/>
    </dgm:pt>
    <dgm:pt modelId="{8DA25C08-E11B-42D6-8FBE-4CAC542AE88E}" type="pres">
      <dgm:prSet presAssocID="{77DFA146-2F89-4E73-9228-85EB196863B3}" presName="connectorText" presStyleLbl="sibTrans1D1" presStyleIdx="0" presStyleCnt="6"/>
      <dgm:spPr/>
    </dgm:pt>
    <dgm:pt modelId="{035232F2-7AC5-4D6E-BEB5-5A68CB53768C}" type="pres">
      <dgm:prSet presAssocID="{AE6D8852-E4E2-43D4-B045-F3DC28D02940}" presName="node" presStyleLbl="node1" presStyleIdx="1" presStyleCnt="7">
        <dgm:presLayoutVars>
          <dgm:bulletEnabled val="1"/>
        </dgm:presLayoutVars>
      </dgm:prSet>
      <dgm:spPr/>
    </dgm:pt>
    <dgm:pt modelId="{9E53C6C8-BFFA-46B0-A0C3-EBBE8FE42CD9}" type="pres">
      <dgm:prSet presAssocID="{6D491269-5AD8-4F75-9C12-78E209BCF64D}" presName="sibTrans" presStyleLbl="sibTrans1D1" presStyleIdx="1" presStyleCnt="6"/>
      <dgm:spPr/>
    </dgm:pt>
    <dgm:pt modelId="{EB672158-B6F1-42B9-9108-616B66766A70}" type="pres">
      <dgm:prSet presAssocID="{6D491269-5AD8-4F75-9C12-78E209BCF64D}" presName="connectorText" presStyleLbl="sibTrans1D1" presStyleIdx="1" presStyleCnt="6"/>
      <dgm:spPr/>
    </dgm:pt>
    <dgm:pt modelId="{78F1A9D3-BD86-48CC-8FC4-0FE9C74917A1}" type="pres">
      <dgm:prSet presAssocID="{CF217BB6-D007-4820-B284-D636374A3253}" presName="node" presStyleLbl="node1" presStyleIdx="2" presStyleCnt="7">
        <dgm:presLayoutVars>
          <dgm:bulletEnabled val="1"/>
        </dgm:presLayoutVars>
      </dgm:prSet>
      <dgm:spPr/>
    </dgm:pt>
    <dgm:pt modelId="{14C35C6E-B02F-482C-B794-6AD2046A40DE}" type="pres">
      <dgm:prSet presAssocID="{7FCAFB2B-5EBC-4148-9493-378A149C2C2D}" presName="sibTrans" presStyleLbl="sibTrans1D1" presStyleIdx="2" presStyleCnt="6"/>
      <dgm:spPr/>
    </dgm:pt>
    <dgm:pt modelId="{714CD825-2D52-4929-8109-7036CCE168BB}" type="pres">
      <dgm:prSet presAssocID="{7FCAFB2B-5EBC-4148-9493-378A149C2C2D}" presName="connectorText" presStyleLbl="sibTrans1D1" presStyleIdx="2" presStyleCnt="6"/>
      <dgm:spPr/>
    </dgm:pt>
    <dgm:pt modelId="{48579603-9D1B-4EB4-BBAB-2A6E4BEFAD18}" type="pres">
      <dgm:prSet presAssocID="{45C2A3BB-2319-4285-AC76-C47CC54444F6}" presName="node" presStyleLbl="node1" presStyleIdx="3" presStyleCnt="7">
        <dgm:presLayoutVars>
          <dgm:bulletEnabled val="1"/>
        </dgm:presLayoutVars>
      </dgm:prSet>
      <dgm:spPr/>
    </dgm:pt>
    <dgm:pt modelId="{D95E821F-47D4-413D-BC99-B403D82B7F43}" type="pres">
      <dgm:prSet presAssocID="{D27F14E3-0D59-44D6-8280-9D00E99B7FE0}" presName="sibTrans" presStyleLbl="sibTrans1D1" presStyleIdx="3" presStyleCnt="6"/>
      <dgm:spPr/>
    </dgm:pt>
    <dgm:pt modelId="{F55397B6-6AD0-43E2-B463-090E7104E103}" type="pres">
      <dgm:prSet presAssocID="{D27F14E3-0D59-44D6-8280-9D00E99B7FE0}" presName="connectorText" presStyleLbl="sibTrans1D1" presStyleIdx="3" presStyleCnt="6"/>
      <dgm:spPr/>
    </dgm:pt>
    <dgm:pt modelId="{03511CB3-BA07-44AA-BB6A-830B00640465}" type="pres">
      <dgm:prSet presAssocID="{36C5FB06-EDCF-42FE-912E-61E18BB76230}" presName="node" presStyleLbl="node1" presStyleIdx="4" presStyleCnt="7">
        <dgm:presLayoutVars>
          <dgm:bulletEnabled val="1"/>
        </dgm:presLayoutVars>
      </dgm:prSet>
      <dgm:spPr/>
    </dgm:pt>
    <dgm:pt modelId="{2DD6C479-A3B9-4D0B-BB86-266EAB8C29A8}" type="pres">
      <dgm:prSet presAssocID="{75CD3F3F-7A39-4629-841F-92ED6A97A4FD}" presName="sibTrans" presStyleLbl="sibTrans1D1" presStyleIdx="4" presStyleCnt="6"/>
      <dgm:spPr/>
    </dgm:pt>
    <dgm:pt modelId="{4E668F57-F8FD-442B-83BB-F4A390FAE60B}" type="pres">
      <dgm:prSet presAssocID="{75CD3F3F-7A39-4629-841F-92ED6A97A4FD}" presName="connectorText" presStyleLbl="sibTrans1D1" presStyleIdx="4" presStyleCnt="6"/>
      <dgm:spPr/>
    </dgm:pt>
    <dgm:pt modelId="{FA38407E-801C-4DF0-AFCA-8317372C5AEE}" type="pres">
      <dgm:prSet presAssocID="{CAA80C15-A306-4FC0-AF65-2CB4F6C6DA5D}" presName="node" presStyleLbl="node1" presStyleIdx="5" presStyleCnt="7">
        <dgm:presLayoutVars>
          <dgm:bulletEnabled val="1"/>
        </dgm:presLayoutVars>
      </dgm:prSet>
      <dgm:spPr/>
    </dgm:pt>
    <dgm:pt modelId="{63B0F62D-C59C-400A-8783-58CC217F28E3}" type="pres">
      <dgm:prSet presAssocID="{9ABA3E6F-67F0-43EB-9AC4-EBB61F0C1847}" presName="sibTrans" presStyleLbl="sibTrans1D1" presStyleIdx="5" presStyleCnt="6"/>
      <dgm:spPr/>
    </dgm:pt>
    <dgm:pt modelId="{64762442-DAB0-4D3D-9BF5-94E174F9EDDF}" type="pres">
      <dgm:prSet presAssocID="{9ABA3E6F-67F0-43EB-9AC4-EBB61F0C1847}" presName="connectorText" presStyleLbl="sibTrans1D1" presStyleIdx="5" presStyleCnt="6"/>
      <dgm:spPr/>
    </dgm:pt>
    <dgm:pt modelId="{65D6A5B5-817E-483D-BAC2-CEF72D5949BE}" type="pres">
      <dgm:prSet presAssocID="{64D3FC23-C8AE-4832-829C-5F82DC590479}" presName="node" presStyleLbl="node1" presStyleIdx="6" presStyleCnt="7">
        <dgm:presLayoutVars>
          <dgm:bulletEnabled val="1"/>
        </dgm:presLayoutVars>
      </dgm:prSet>
      <dgm:spPr/>
    </dgm:pt>
  </dgm:ptLst>
  <dgm:cxnLst>
    <dgm:cxn modelId="{92DA7C00-FE9B-4D60-A401-ADB319A77029}" type="presOf" srcId="{AE6D8852-E4E2-43D4-B045-F3DC28D02940}" destId="{035232F2-7AC5-4D6E-BEB5-5A68CB53768C}" srcOrd="0" destOrd="0" presId="urn:microsoft.com/office/officeart/2005/8/layout/bProcess3"/>
    <dgm:cxn modelId="{A1C49216-0A36-4A7C-8853-86AC6E5DC636}" srcId="{5ED3E763-C69A-4517-9D03-1A118A62A35A}" destId="{36C5FB06-EDCF-42FE-912E-61E18BB76230}" srcOrd="4" destOrd="0" parTransId="{199870C5-EFF2-4888-96F1-32E0E884BBB6}" sibTransId="{75CD3F3F-7A39-4629-841F-92ED6A97A4FD}"/>
    <dgm:cxn modelId="{33D41E1D-DD09-46FE-9AF9-7A32B814C2AB}" type="presOf" srcId="{6D491269-5AD8-4F75-9C12-78E209BCF64D}" destId="{EB672158-B6F1-42B9-9108-616B66766A70}" srcOrd="1" destOrd="0" presId="urn:microsoft.com/office/officeart/2005/8/layout/bProcess3"/>
    <dgm:cxn modelId="{C31C281E-6281-400E-B700-60C3A3B0CA3C}" type="presOf" srcId="{77DFA146-2F89-4E73-9228-85EB196863B3}" destId="{3FFD5072-14A4-485B-9BDA-45936FE77C10}" srcOrd="0" destOrd="0" presId="urn:microsoft.com/office/officeart/2005/8/layout/bProcess3"/>
    <dgm:cxn modelId="{3D4D1F25-5448-404F-A5FF-2BF7B93FE791}" srcId="{5ED3E763-C69A-4517-9D03-1A118A62A35A}" destId="{CAA80C15-A306-4FC0-AF65-2CB4F6C6DA5D}" srcOrd="5" destOrd="0" parTransId="{92096267-0657-40C8-980F-C4B7E791A182}" sibTransId="{9ABA3E6F-67F0-43EB-9AC4-EBB61F0C1847}"/>
    <dgm:cxn modelId="{22AC8728-7692-49A2-92A3-F8019542D830}" type="presOf" srcId="{64D3FC23-C8AE-4832-829C-5F82DC590479}" destId="{65D6A5B5-817E-483D-BAC2-CEF72D5949BE}" srcOrd="0" destOrd="0" presId="urn:microsoft.com/office/officeart/2005/8/layout/bProcess3"/>
    <dgm:cxn modelId="{49937A33-5138-470F-AED2-D96DB593C719}" type="presOf" srcId="{CAA80C15-A306-4FC0-AF65-2CB4F6C6DA5D}" destId="{FA38407E-801C-4DF0-AFCA-8317372C5AEE}" srcOrd="0" destOrd="0" presId="urn:microsoft.com/office/officeart/2005/8/layout/bProcess3"/>
    <dgm:cxn modelId="{3AA76738-12C8-4FF4-90A9-00EF39828684}" type="presOf" srcId="{9ABA3E6F-67F0-43EB-9AC4-EBB61F0C1847}" destId="{64762442-DAB0-4D3D-9BF5-94E174F9EDDF}" srcOrd="1" destOrd="0" presId="urn:microsoft.com/office/officeart/2005/8/layout/bProcess3"/>
    <dgm:cxn modelId="{3584735E-3582-4B73-A1EF-6EFC2F1F00D3}" srcId="{5ED3E763-C69A-4517-9D03-1A118A62A35A}" destId="{EF18B75E-A341-4097-897B-D2E6763E3BA4}" srcOrd="0" destOrd="0" parTransId="{4F3307B5-3493-44CC-9771-454E51B5C20C}" sibTransId="{77DFA146-2F89-4E73-9228-85EB196863B3}"/>
    <dgm:cxn modelId="{532C4F63-3189-4A5C-838F-49879E8A7006}" type="presOf" srcId="{D27F14E3-0D59-44D6-8280-9D00E99B7FE0}" destId="{F55397B6-6AD0-43E2-B463-090E7104E103}" srcOrd="1" destOrd="0" presId="urn:microsoft.com/office/officeart/2005/8/layout/bProcess3"/>
    <dgm:cxn modelId="{C828CF63-FB88-401A-88B3-F58379F5D32A}" type="presOf" srcId="{75CD3F3F-7A39-4629-841F-92ED6A97A4FD}" destId="{2DD6C479-A3B9-4D0B-BB86-266EAB8C29A8}" srcOrd="0" destOrd="0" presId="urn:microsoft.com/office/officeart/2005/8/layout/bProcess3"/>
    <dgm:cxn modelId="{53084245-8BAC-44E0-B7EE-BA601AD29E2F}" type="presOf" srcId="{36C5FB06-EDCF-42FE-912E-61E18BB76230}" destId="{03511CB3-BA07-44AA-BB6A-830B00640465}" srcOrd="0" destOrd="0" presId="urn:microsoft.com/office/officeart/2005/8/layout/bProcess3"/>
    <dgm:cxn modelId="{862AB46A-DA8D-4C75-A275-0BA701380C41}" type="presOf" srcId="{6D491269-5AD8-4F75-9C12-78E209BCF64D}" destId="{9E53C6C8-BFFA-46B0-A0C3-EBBE8FE42CD9}" srcOrd="0" destOrd="0" presId="urn:microsoft.com/office/officeart/2005/8/layout/bProcess3"/>
    <dgm:cxn modelId="{0C06E86F-4284-4225-A825-EAD859CCD570}" type="presOf" srcId="{45C2A3BB-2319-4285-AC76-C47CC54444F6}" destId="{48579603-9D1B-4EB4-BBAB-2A6E4BEFAD18}" srcOrd="0" destOrd="0" presId="urn:microsoft.com/office/officeart/2005/8/layout/bProcess3"/>
    <dgm:cxn modelId="{99655270-3CC4-4D3D-ABFA-47554BFAF808}" type="presOf" srcId="{D27F14E3-0D59-44D6-8280-9D00E99B7FE0}" destId="{D95E821F-47D4-413D-BC99-B403D82B7F43}" srcOrd="0" destOrd="0" presId="urn:microsoft.com/office/officeart/2005/8/layout/bProcess3"/>
    <dgm:cxn modelId="{E6140F99-FBAF-455C-8967-73EBF7BA6A00}" type="presOf" srcId="{5ED3E763-C69A-4517-9D03-1A118A62A35A}" destId="{E78F7D81-ED2D-4180-8B07-D4D7454EF01D}" srcOrd="0" destOrd="0" presId="urn:microsoft.com/office/officeart/2005/8/layout/bProcess3"/>
    <dgm:cxn modelId="{DEDCE39C-2342-4D4F-A3E9-13101E09AE6D}" type="presOf" srcId="{7FCAFB2B-5EBC-4148-9493-378A149C2C2D}" destId="{714CD825-2D52-4929-8109-7036CCE168BB}" srcOrd="1" destOrd="0" presId="urn:microsoft.com/office/officeart/2005/8/layout/bProcess3"/>
    <dgm:cxn modelId="{589ADFA6-9287-4848-BE1E-BDD978956B17}" srcId="{5ED3E763-C69A-4517-9D03-1A118A62A35A}" destId="{CF217BB6-D007-4820-B284-D636374A3253}" srcOrd="2" destOrd="0" parTransId="{D66E4A07-A2A5-45CC-B427-E5DBF1FF46A6}" sibTransId="{7FCAFB2B-5EBC-4148-9493-378A149C2C2D}"/>
    <dgm:cxn modelId="{732EBEB9-FEF4-4519-AD5C-F183009CDEFB}" type="presOf" srcId="{75CD3F3F-7A39-4629-841F-92ED6A97A4FD}" destId="{4E668F57-F8FD-442B-83BB-F4A390FAE60B}" srcOrd="1" destOrd="0" presId="urn:microsoft.com/office/officeart/2005/8/layout/bProcess3"/>
    <dgm:cxn modelId="{852885BF-939F-4478-9D0E-D6D19F9E1457}" type="presOf" srcId="{77DFA146-2F89-4E73-9228-85EB196863B3}" destId="{8DA25C08-E11B-42D6-8FBE-4CAC542AE88E}" srcOrd="1" destOrd="0" presId="urn:microsoft.com/office/officeart/2005/8/layout/bProcess3"/>
    <dgm:cxn modelId="{725E00CF-AD11-4C23-8D94-0B799E9F9EE8}" type="presOf" srcId="{CF217BB6-D007-4820-B284-D636374A3253}" destId="{78F1A9D3-BD86-48CC-8FC4-0FE9C74917A1}" srcOrd="0" destOrd="0" presId="urn:microsoft.com/office/officeart/2005/8/layout/bProcess3"/>
    <dgm:cxn modelId="{9297C1D2-E6A6-41E7-A450-307F13A12BAD}" srcId="{5ED3E763-C69A-4517-9D03-1A118A62A35A}" destId="{45C2A3BB-2319-4285-AC76-C47CC54444F6}" srcOrd="3" destOrd="0" parTransId="{5B8D416C-7187-4AA1-B8D7-23A1153B6148}" sibTransId="{D27F14E3-0D59-44D6-8280-9D00E99B7FE0}"/>
    <dgm:cxn modelId="{A31A64E4-E424-4AB9-A5A5-CE169C75A345}" type="presOf" srcId="{7FCAFB2B-5EBC-4148-9493-378A149C2C2D}" destId="{14C35C6E-B02F-482C-B794-6AD2046A40DE}" srcOrd="0" destOrd="0" presId="urn:microsoft.com/office/officeart/2005/8/layout/bProcess3"/>
    <dgm:cxn modelId="{AFB59DE7-928A-40C7-84A6-75E352978B11}" type="presOf" srcId="{9ABA3E6F-67F0-43EB-9AC4-EBB61F0C1847}" destId="{63B0F62D-C59C-400A-8783-58CC217F28E3}" srcOrd="0" destOrd="0" presId="urn:microsoft.com/office/officeart/2005/8/layout/bProcess3"/>
    <dgm:cxn modelId="{EFBC82E9-2EB2-4E2F-8CE5-596678F6113E}" type="presOf" srcId="{EF18B75E-A341-4097-897B-D2E6763E3BA4}" destId="{4DF4C5BC-E579-41C1-878B-0800E02C5298}" srcOrd="0" destOrd="0" presId="urn:microsoft.com/office/officeart/2005/8/layout/bProcess3"/>
    <dgm:cxn modelId="{8D5B01ED-0970-459E-87D8-A4E236074B0C}" srcId="{5ED3E763-C69A-4517-9D03-1A118A62A35A}" destId="{64D3FC23-C8AE-4832-829C-5F82DC590479}" srcOrd="6" destOrd="0" parTransId="{73067318-CFDE-4F9F-86CA-865D8CF958D7}" sibTransId="{5BD0426C-E5E0-4BC6-B364-C5AA1736C134}"/>
    <dgm:cxn modelId="{7D9B2EF0-3A48-4C42-B7F5-2C05BF361B9E}" srcId="{5ED3E763-C69A-4517-9D03-1A118A62A35A}" destId="{AE6D8852-E4E2-43D4-B045-F3DC28D02940}" srcOrd="1" destOrd="0" parTransId="{D79790BE-EC1B-4F3D-B757-42F4A0CF1B92}" sibTransId="{6D491269-5AD8-4F75-9C12-78E209BCF64D}"/>
    <dgm:cxn modelId="{81B8758A-EB6D-44A1-83AE-87AAA6B5C08E}" type="presParOf" srcId="{E78F7D81-ED2D-4180-8B07-D4D7454EF01D}" destId="{4DF4C5BC-E579-41C1-878B-0800E02C5298}" srcOrd="0" destOrd="0" presId="urn:microsoft.com/office/officeart/2005/8/layout/bProcess3"/>
    <dgm:cxn modelId="{6BE1654D-B572-4BF8-99B2-169BF7E83113}" type="presParOf" srcId="{E78F7D81-ED2D-4180-8B07-D4D7454EF01D}" destId="{3FFD5072-14A4-485B-9BDA-45936FE77C10}" srcOrd="1" destOrd="0" presId="urn:microsoft.com/office/officeart/2005/8/layout/bProcess3"/>
    <dgm:cxn modelId="{31DB009C-12EC-4DEA-AE2A-77657AD64196}" type="presParOf" srcId="{3FFD5072-14A4-485B-9BDA-45936FE77C10}" destId="{8DA25C08-E11B-42D6-8FBE-4CAC542AE88E}" srcOrd="0" destOrd="0" presId="urn:microsoft.com/office/officeart/2005/8/layout/bProcess3"/>
    <dgm:cxn modelId="{4B26B57B-B74D-417D-B459-175FAA4CDBE7}" type="presParOf" srcId="{E78F7D81-ED2D-4180-8B07-D4D7454EF01D}" destId="{035232F2-7AC5-4D6E-BEB5-5A68CB53768C}" srcOrd="2" destOrd="0" presId="urn:microsoft.com/office/officeart/2005/8/layout/bProcess3"/>
    <dgm:cxn modelId="{CEF41150-4B01-4DB7-AA3E-48FABC4F720D}" type="presParOf" srcId="{E78F7D81-ED2D-4180-8B07-D4D7454EF01D}" destId="{9E53C6C8-BFFA-46B0-A0C3-EBBE8FE42CD9}" srcOrd="3" destOrd="0" presId="urn:microsoft.com/office/officeart/2005/8/layout/bProcess3"/>
    <dgm:cxn modelId="{B88CE116-F01D-439D-A2AA-A294871D4677}" type="presParOf" srcId="{9E53C6C8-BFFA-46B0-A0C3-EBBE8FE42CD9}" destId="{EB672158-B6F1-42B9-9108-616B66766A70}" srcOrd="0" destOrd="0" presId="urn:microsoft.com/office/officeart/2005/8/layout/bProcess3"/>
    <dgm:cxn modelId="{9D4226E4-04E6-4BDB-B727-A4FB27A9764C}" type="presParOf" srcId="{E78F7D81-ED2D-4180-8B07-D4D7454EF01D}" destId="{78F1A9D3-BD86-48CC-8FC4-0FE9C74917A1}" srcOrd="4" destOrd="0" presId="urn:microsoft.com/office/officeart/2005/8/layout/bProcess3"/>
    <dgm:cxn modelId="{A476F5C3-FA4C-40F9-A74D-AE0B677FE0A3}" type="presParOf" srcId="{E78F7D81-ED2D-4180-8B07-D4D7454EF01D}" destId="{14C35C6E-B02F-482C-B794-6AD2046A40DE}" srcOrd="5" destOrd="0" presId="urn:microsoft.com/office/officeart/2005/8/layout/bProcess3"/>
    <dgm:cxn modelId="{34C0540A-5779-4D79-B324-DC99B32F43EA}" type="presParOf" srcId="{14C35C6E-B02F-482C-B794-6AD2046A40DE}" destId="{714CD825-2D52-4929-8109-7036CCE168BB}" srcOrd="0" destOrd="0" presId="urn:microsoft.com/office/officeart/2005/8/layout/bProcess3"/>
    <dgm:cxn modelId="{FA8C8586-38B7-4BBD-91D8-43A304A13F7C}" type="presParOf" srcId="{E78F7D81-ED2D-4180-8B07-D4D7454EF01D}" destId="{48579603-9D1B-4EB4-BBAB-2A6E4BEFAD18}" srcOrd="6" destOrd="0" presId="urn:microsoft.com/office/officeart/2005/8/layout/bProcess3"/>
    <dgm:cxn modelId="{584701FF-414A-4C50-813E-3EC6B9AFF999}" type="presParOf" srcId="{E78F7D81-ED2D-4180-8B07-D4D7454EF01D}" destId="{D95E821F-47D4-413D-BC99-B403D82B7F43}" srcOrd="7" destOrd="0" presId="urn:microsoft.com/office/officeart/2005/8/layout/bProcess3"/>
    <dgm:cxn modelId="{4029E774-AA79-46B6-BD7D-C567E5C0768C}" type="presParOf" srcId="{D95E821F-47D4-413D-BC99-B403D82B7F43}" destId="{F55397B6-6AD0-43E2-B463-090E7104E103}" srcOrd="0" destOrd="0" presId="urn:microsoft.com/office/officeart/2005/8/layout/bProcess3"/>
    <dgm:cxn modelId="{28273B7B-D616-4635-9016-4FDD434E4E55}" type="presParOf" srcId="{E78F7D81-ED2D-4180-8B07-D4D7454EF01D}" destId="{03511CB3-BA07-44AA-BB6A-830B00640465}" srcOrd="8" destOrd="0" presId="urn:microsoft.com/office/officeart/2005/8/layout/bProcess3"/>
    <dgm:cxn modelId="{243B5F08-0FD5-4717-B343-937B71E646BF}" type="presParOf" srcId="{E78F7D81-ED2D-4180-8B07-D4D7454EF01D}" destId="{2DD6C479-A3B9-4D0B-BB86-266EAB8C29A8}" srcOrd="9" destOrd="0" presId="urn:microsoft.com/office/officeart/2005/8/layout/bProcess3"/>
    <dgm:cxn modelId="{00EF6F81-E4DC-4008-A0E6-14DAE520B3D5}" type="presParOf" srcId="{2DD6C479-A3B9-4D0B-BB86-266EAB8C29A8}" destId="{4E668F57-F8FD-442B-83BB-F4A390FAE60B}" srcOrd="0" destOrd="0" presId="urn:microsoft.com/office/officeart/2005/8/layout/bProcess3"/>
    <dgm:cxn modelId="{B2ABA2C4-65FB-4D21-8273-82B052069DAD}" type="presParOf" srcId="{E78F7D81-ED2D-4180-8B07-D4D7454EF01D}" destId="{FA38407E-801C-4DF0-AFCA-8317372C5AEE}" srcOrd="10" destOrd="0" presId="urn:microsoft.com/office/officeart/2005/8/layout/bProcess3"/>
    <dgm:cxn modelId="{1C26137F-DE8A-422B-8EC9-C76192A0A4B5}" type="presParOf" srcId="{E78F7D81-ED2D-4180-8B07-D4D7454EF01D}" destId="{63B0F62D-C59C-400A-8783-58CC217F28E3}" srcOrd="11" destOrd="0" presId="urn:microsoft.com/office/officeart/2005/8/layout/bProcess3"/>
    <dgm:cxn modelId="{2BC83A13-C1FB-48C1-90B1-10BD80A0B4C4}" type="presParOf" srcId="{63B0F62D-C59C-400A-8783-58CC217F28E3}" destId="{64762442-DAB0-4D3D-9BF5-94E174F9EDDF}" srcOrd="0" destOrd="0" presId="urn:microsoft.com/office/officeart/2005/8/layout/bProcess3"/>
    <dgm:cxn modelId="{F10BE288-D8E8-47AA-AC7B-F326FFF11BBA}" type="presParOf" srcId="{E78F7D81-ED2D-4180-8B07-D4D7454EF01D}" destId="{65D6A5B5-817E-483D-BAC2-CEF72D5949BE}" srcOrd="12"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366156-5754-4F1D-9CB2-D5EED9D7CD94}" type="doc">
      <dgm:prSet loTypeId="urn:microsoft.com/office/officeart/2005/8/layout/list1" loCatId="list" qsTypeId="urn:microsoft.com/office/officeart/2005/8/quickstyle/simple4" qsCatId="simple" csTypeId="urn:microsoft.com/office/officeart/2005/8/colors/accent1_2" csCatId="accent1"/>
      <dgm:spPr/>
      <dgm:t>
        <a:bodyPr/>
        <a:lstStyle/>
        <a:p>
          <a:endParaRPr lang="en-US"/>
        </a:p>
      </dgm:t>
    </dgm:pt>
    <dgm:pt modelId="{66084A79-791F-4A6E-ACB1-DB08EA30A07A}">
      <dgm:prSet/>
      <dgm:spPr/>
      <dgm:t>
        <a:bodyPr/>
        <a:lstStyle/>
        <a:p>
          <a:r>
            <a:rPr lang="en-IN" dirty="0"/>
            <a:t>Recovery time objective (RTO) </a:t>
          </a:r>
          <a:endParaRPr lang="en-US" dirty="0"/>
        </a:p>
      </dgm:t>
    </dgm:pt>
    <dgm:pt modelId="{12F7FAAB-D2AE-461E-A9AB-B90C994C816E}" type="parTrans" cxnId="{8DE3FCBC-8969-4DA6-AF98-67A20CE00841}">
      <dgm:prSet/>
      <dgm:spPr/>
      <dgm:t>
        <a:bodyPr/>
        <a:lstStyle/>
        <a:p>
          <a:endParaRPr lang="en-US"/>
        </a:p>
      </dgm:t>
    </dgm:pt>
    <dgm:pt modelId="{F6F7C2D8-F2E6-4423-B278-195D05308C33}" type="sibTrans" cxnId="{8DE3FCBC-8969-4DA6-AF98-67A20CE00841}">
      <dgm:prSet/>
      <dgm:spPr/>
      <dgm:t>
        <a:bodyPr/>
        <a:lstStyle/>
        <a:p>
          <a:endParaRPr lang="en-US"/>
        </a:p>
      </dgm:t>
    </dgm:pt>
    <dgm:pt modelId="{61A470F0-9D80-419B-A824-5F1187825FB1}">
      <dgm:prSet/>
      <dgm:spPr/>
      <dgm:t>
        <a:bodyPr/>
        <a:lstStyle/>
        <a:p>
          <a:r>
            <a:rPr lang="en-IN"/>
            <a:t>Recovery point objective (RPO) </a:t>
          </a:r>
          <a:endParaRPr lang="en-US"/>
        </a:p>
      </dgm:t>
    </dgm:pt>
    <dgm:pt modelId="{88C10FD1-EF9B-4B0E-BAC6-0EDFBCF47245}" type="parTrans" cxnId="{EEE6AB53-8158-4AC4-A208-CE9262DB8828}">
      <dgm:prSet/>
      <dgm:spPr/>
      <dgm:t>
        <a:bodyPr/>
        <a:lstStyle/>
        <a:p>
          <a:endParaRPr lang="en-US"/>
        </a:p>
      </dgm:t>
    </dgm:pt>
    <dgm:pt modelId="{D844D52C-3737-4D58-98C8-56D3E3F24E87}" type="sibTrans" cxnId="{EEE6AB53-8158-4AC4-A208-CE9262DB8828}">
      <dgm:prSet/>
      <dgm:spPr/>
      <dgm:t>
        <a:bodyPr/>
        <a:lstStyle/>
        <a:p>
          <a:endParaRPr lang="en-US"/>
        </a:p>
      </dgm:t>
    </dgm:pt>
    <dgm:pt modelId="{69C53A69-9DAC-4CFF-B2C2-FFBB3134B2F9}">
      <dgm:prSet/>
      <dgm:spPr/>
      <dgm:t>
        <a:bodyPr/>
        <a:lstStyle/>
        <a:p>
          <a:r>
            <a:rPr lang="en-IN"/>
            <a:t>Mean time to recover (MTTR)</a:t>
          </a:r>
          <a:endParaRPr lang="en-US"/>
        </a:p>
      </dgm:t>
    </dgm:pt>
    <dgm:pt modelId="{82D424EC-E9F0-49E8-9D36-7DD5AF4283EB}" type="parTrans" cxnId="{7C0A3CE0-C08A-4F53-9DDA-28AA036B233B}">
      <dgm:prSet/>
      <dgm:spPr/>
      <dgm:t>
        <a:bodyPr/>
        <a:lstStyle/>
        <a:p>
          <a:endParaRPr lang="en-US"/>
        </a:p>
      </dgm:t>
    </dgm:pt>
    <dgm:pt modelId="{1BAC2433-E9D4-4193-BDAC-0E2B75FEB2E8}" type="sibTrans" cxnId="{7C0A3CE0-C08A-4F53-9DDA-28AA036B233B}">
      <dgm:prSet/>
      <dgm:spPr/>
      <dgm:t>
        <a:bodyPr/>
        <a:lstStyle/>
        <a:p>
          <a:endParaRPr lang="en-US"/>
        </a:p>
      </dgm:t>
    </dgm:pt>
    <dgm:pt modelId="{4ACE81C3-3594-4ADF-A11A-8B76C2F66122}">
      <dgm:prSet/>
      <dgm:spPr/>
      <dgm:t>
        <a:bodyPr/>
        <a:lstStyle/>
        <a:p>
          <a:r>
            <a:rPr lang="en-IN"/>
            <a:t>Mean time between failures (MTBF) </a:t>
          </a:r>
          <a:endParaRPr lang="en-US"/>
        </a:p>
      </dgm:t>
    </dgm:pt>
    <dgm:pt modelId="{1FEB138B-778C-446E-9B84-46F2607F9D0A}" type="parTrans" cxnId="{C11ECACA-5A1B-4C5D-80B5-0B3349B5369D}">
      <dgm:prSet/>
      <dgm:spPr/>
      <dgm:t>
        <a:bodyPr/>
        <a:lstStyle/>
        <a:p>
          <a:endParaRPr lang="en-US"/>
        </a:p>
      </dgm:t>
    </dgm:pt>
    <dgm:pt modelId="{11DB856C-2A49-421B-81CA-63BA7BA8665C}" type="sibTrans" cxnId="{C11ECACA-5A1B-4C5D-80B5-0B3349B5369D}">
      <dgm:prSet/>
      <dgm:spPr/>
      <dgm:t>
        <a:bodyPr/>
        <a:lstStyle/>
        <a:p>
          <a:endParaRPr lang="en-US"/>
        </a:p>
      </dgm:t>
    </dgm:pt>
    <dgm:pt modelId="{6DFAE980-4AF5-40FE-B327-CDD7954104D9}">
      <dgm:prSet/>
      <dgm:spPr/>
      <dgm:t>
        <a:bodyPr/>
        <a:lstStyle/>
        <a:p>
          <a:r>
            <a:rPr lang="en-IN"/>
            <a:t>Service-level agreement (SLA) </a:t>
          </a:r>
          <a:endParaRPr lang="en-US"/>
        </a:p>
      </dgm:t>
    </dgm:pt>
    <dgm:pt modelId="{C89FADC3-5BA4-4D41-94EF-1CDD7BE79B8E}" type="parTrans" cxnId="{528F8138-2AB4-42B3-A8D9-BE706BEBB985}">
      <dgm:prSet/>
      <dgm:spPr/>
      <dgm:t>
        <a:bodyPr/>
        <a:lstStyle/>
        <a:p>
          <a:endParaRPr lang="en-US"/>
        </a:p>
      </dgm:t>
    </dgm:pt>
    <dgm:pt modelId="{AB1D995F-BE9E-40CD-B655-9EC05A234D76}" type="sibTrans" cxnId="{528F8138-2AB4-42B3-A8D9-BE706BEBB985}">
      <dgm:prSet/>
      <dgm:spPr/>
      <dgm:t>
        <a:bodyPr/>
        <a:lstStyle/>
        <a:p>
          <a:endParaRPr lang="en-US"/>
        </a:p>
      </dgm:t>
    </dgm:pt>
    <dgm:pt modelId="{31D74E54-D477-46EC-A510-A44650FA22DC}" type="pres">
      <dgm:prSet presAssocID="{6E366156-5754-4F1D-9CB2-D5EED9D7CD94}" presName="linear" presStyleCnt="0">
        <dgm:presLayoutVars>
          <dgm:dir/>
          <dgm:animLvl val="lvl"/>
          <dgm:resizeHandles val="exact"/>
        </dgm:presLayoutVars>
      </dgm:prSet>
      <dgm:spPr/>
    </dgm:pt>
    <dgm:pt modelId="{C3ADB594-B148-4194-987C-1153DD3A8285}" type="pres">
      <dgm:prSet presAssocID="{66084A79-791F-4A6E-ACB1-DB08EA30A07A}" presName="parentLin" presStyleCnt="0"/>
      <dgm:spPr/>
    </dgm:pt>
    <dgm:pt modelId="{D59B529E-D934-4B37-83CB-9252A3A4E7F6}" type="pres">
      <dgm:prSet presAssocID="{66084A79-791F-4A6E-ACB1-DB08EA30A07A}" presName="parentLeftMargin" presStyleLbl="node1" presStyleIdx="0" presStyleCnt="5"/>
      <dgm:spPr/>
    </dgm:pt>
    <dgm:pt modelId="{1D622164-9990-484B-AACC-4D483CF929BF}" type="pres">
      <dgm:prSet presAssocID="{66084A79-791F-4A6E-ACB1-DB08EA30A07A}" presName="parentText" presStyleLbl="node1" presStyleIdx="0" presStyleCnt="5">
        <dgm:presLayoutVars>
          <dgm:chMax val="0"/>
          <dgm:bulletEnabled val="1"/>
        </dgm:presLayoutVars>
      </dgm:prSet>
      <dgm:spPr/>
    </dgm:pt>
    <dgm:pt modelId="{7137032A-5AE1-4459-A844-F0096179D256}" type="pres">
      <dgm:prSet presAssocID="{66084A79-791F-4A6E-ACB1-DB08EA30A07A}" presName="negativeSpace" presStyleCnt="0"/>
      <dgm:spPr/>
    </dgm:pt>
    <dgm:pt modelId="{7D36885D-2758-475C-A93C-984174D11508}" type="pres">
      <dgm:prSet presAssocID="{66084A79-791F-4A6E-ACB1-DB08EA30A07A}" presName="childText" presStyleLbl="conFgAcc1" presStyleIdx="0" presStyleCnt="5">
        <dgm:presLayoutVars>
          <dgm:bulletEnabled val="1"/>
        </dgm:presLayoutVars>
      </dgm:prSet>
      <dgm:spPr/>
    </dgm:pt>
    <dgm:pt modelId="{88D42094-5DE2-4B2E-8DBE-7E6C631E92EC}" type="pres">
      <dgm:prSet presAssocID="{F6F7C2D8-F2E6-4423-B278-195D05308C33}" presName="spaceBetweenRectangles" presStyleCnt="0"/>
      <dgm:spPr/>
    </dgm:pt>
    <dgm:pt modelId="{C13A871D-7D65-4E26-A09E-4393A0A5284E}" type="pres">
      <dgm:prSet presAssocID="{61A470F0-9D80-419B-A824-5F1187825FB1}" presName="parentLin" presStyleCnt="0"/>
      <dgm:spPr/>
    </dgm:pt>
    <dgm:pt modelId="{AFB331F1-92F9-494C-ABDA-062D82830E23}" type="pres">
      <dgm:prSet presAssocID="{61A470F0-9D80-419B-A824-5F1187825FB1}" presName="parentLeftMargin" presStyleLbl="node1" presStyleIdx="0" presStyleCnt="5"/>
      <dgm:spPr/>
    </dgm:pt>
    <dgm:pt modelId="{D636A3B7-34DB-4B5B-B301-40AC33C2E66E}" type="pres">
      <dgm:prSet presAssocID="{61A470F0-9D80-419B-A824-5F1187825FB1}" presName="parentText" presStyleLbl="node1" presStyleIdx="1" presStyleCnt="5">
        <dgm:presLayoutVars>
          <dgm:chMax val="0"/>
          <dgm:bulletEnabled val="1"/>
        </dgm:presLayoutVars>
      </dgm:prSet>
      <dgm:spPr/>
    </dgm:pt>
    <dgm:pt modelId="{95E2318F-6169-42E0-980F-622A34A10583}" type="pres">
      <dgm:prSet presAssocID="{61A470F0-9D80-419B-A824-5F1187825FB1}" presName="negativeSpace" presStyleCnt="0"/>
      <dgm:spPr/>
    </dgm:pt>
    <dgm:pt modelId="{3F0E72B8-CFC3-4BCF-AA75-469A34C8364C}" type="pres">
      <dgm:prSet presAssocID="{61A470F0-9D80-419B-A824-5F1187825FB1}" presName="childText" presStyleLbl="conFgAcc1" presStyleIdx="1" presStyleCnt="5">
        <dgm:presLayoutVars>
          <dgm:bulletEnabled val="1"/>
        </dgm:presLayoutVars>
      </dgm:prSet>
      <dgm:spPr/>
    </dgm:pt>
    <dgm:pt modelId="{88B284C8-CA47-4588-9FA5-A60AE4C4EE92}" type="pres">
      <dgm:prSet presAssocID="{D844D52C-3737-4D58-98C8-56D3E3F24E87}" presName="spaceBetweenRectangles" presStyleCnt="0"/>
      <dgm:spPr/>
    </dgm:pt>
    <dgm:pt modelId="{F318DDA0-68D9-4D10-99F9-461A80AFCD9E}" type="pres">
      <dgm:prSet presAssocID="{69C53A69-9DAC-4CFF-B2C2-FFBB3134B2F9}" presName="parentLin" presStyleCnt="0"/>
      <dgm:spPr/>
    </dgm:pt>
    <dgm:pt modelId="{97B0B520-6D81-4D01-8476-3D2D52FF0E37}" type="pres">
      <dgm:prSet presAssocID="{69C53A69-9DAC-4CFF-B2C2-FFBB3134B2F9}" presName="parentLeftMargin" presStyleLbl="node1" presStyleIdx="1" presStyleCnt="5"/>
      <dgm:spPr/>
    </dgm:pt>
    <dgm:pt modelId="{06E75FEE-4E99-4AF6-8DAF-0468C2B6EC3D}" type="pres">
      <dgm:prSet presAssocID="{69C53A69-9DAC-4CFF-B2C2-FFBB3134B2F9}" presName="parentText" presStyleLbl="node1" presStyleIdx="2" presStyleCnt="5">
        <dgm:presLayoutVars>
          <dgm:chMax val="0"/>
          <dgm:bulletEnabled val="1"/>
        </dgm:presLayoutVars>
      </dgm:prSet>
      <dgm:spPr/>
    </dgm:pt>
    <dgm:pt modelId="{C558D22F-90EC-42B0-995D-54F70679B4CE}" type="pres">
      <dgm:prSet presAssocID="{69C53A69-9DAC-4CFF-B2C2-FFBB3134B2F9}" presName="negativeSpace" presStyleCnt="0"/>
      <dgm:spPr/>
    </dgm:pt>
    <dgm:pt modelId="{8A8BA251-C7DF-46F7-A755-C8B5B5AFA4FE}" type="pres">
      <dgm:prSet presAssocID="{69C53A69-9DAC-4CFF-B2C2-FFBB3134B2F9}" presName="childText" presStyleLbl="conFgAcc1" presStyleIdx="2" presStyleCnt="5">
        <dgm:presLayoutVars>
          <dgm:bulletEnabled val="1"/>
        </dgm:presLayoutVars>
      </dgm:prSet>
      <dgm:spPr/>
    </dgm:pt>
    <dgm:pt modelId="{C498C1E0-D4CC-4B59-80C4-5A2386DEC60A}" type="pres">
      <dgm:prSet presAssocID="{1BAC2433-E9D4-4193-BDAC-0E2B75FEB2E8}" presName="spaceBetweenRectangles" presStyleCnt="0"/>
      <dgm:spPr/>
    </dgm:pt>
    <dgm:pt modelId="{63295BC0-065A-42E1-8BF3-B5AA9A449481}" type="pres">
      <dgm:prSet presAssocID="{4ACE81C3-3594-4ADF-A11A-8B76C2F66122}" presName="parentLin" presStyleCnt="0"/>
      <dgm:spPr/>
    </dgm:pt>
    <dgm:pt modelId="{BC8BFA01-EB1F-4655-A8AE-93E4A5B6EABB}" type="pres">
      <dgm:prSet presAssocID="{4ACE81C3-3594-4ADF-A11A-8B76C2F66122}" presName="parentLeftMargin" presStyleLbl="node1" presStyleIdx="2" presStyleCnt="5"/>
      <dgm:spPr/>
    </dgm:pt>
    <dgm:pt modelId="{0526BCBE-2AB2-45AE-87B0-AE2675D54241}" type="pres">
      <dgm:prSet presAssocID="{4ACE81C3-3594-4ADF-A11A-8B76C2F66122}" presName="parentText" presStyleLbl="node1" presStyleIdx="3" presStyleCnt="5">
        <dgm:presLayoutVars>
          <dgm:chMax val="0"/>
          <dgm:bulletEnabled val="1"/>
        </dgm:presLayoutVars>
      </dgm:prSet>
      <dgm:spPr/>
    </dgm:pt>
    <dgm:pt modelId="{0CC65271-FC0F-4C79-A139-AF0355AEB7D1}" type="pres">
      <dgm:prSet presAssocID="{4ACE81C3-3594-4ADF-A11A-8B76C2F66122}" presName="negativeSpace" presStyleCnt="0"/>
      <dgm:spPr/>
    </dgm:pt>
    <dgm:pt modelId="{BACF4984-FD0F-45D6-856F-C91D08E97CFE}" type="pres">
      <dgm:prSet presAssocID="{4ACE81C3-3594-4ADF-A11A-8B76C2F66122}" presName="childText" presStyleLbl="conFgAcc1" presStyleIdx="3" presStyleCnt="5">
        <dgm:presLayoutVars>
          <dgm:bulletEnabled val="1"/>
        </dgm:presLayoutVars>
      </dgm:prSet>
      <dgm:spPr/>
    </dgm:pt>
    <dgm:pt modelId="{B35D4507-4B39-4DB0-9E07-E3644C0F1F23}" type="pres">
      <dgm:prSet presAssocID="{11DB856C-2A49-421B-81CA-63BA7BA8665C}" presName="spaceBetweenRectangles" presStyleCnt="0"/>
      <dgm:spPr/>
    </dgm:pt>
    <dgm:pt modelId="{9C83355E-521E-4A7F-A1E7-FCAE3C1BD75A}" type="pres">
      <dgm:prSet presAssocID="{6DFAE980-4AF5-40FE-B327-CDD7954104D9}" presName="parentLin" presStyleCnt="0"/>
      <dgm:spPr/>
    </dgm:pt>
    <dgm:pt modelId="{0A0DB7DC-9D33-4F73-A70A-F63266BB245F}" type="pres">
      <dgm:prSet presAssocID="{6DFAE980-4AF5-40FE-B327-CDD7954104D9}" presName="parentLeftMargin" presStyleLbl="node1" presStyleIdx="3" presStyleCnt="5"/>
      <dgm:spPr/>
    </dgm:pt>
    <dgm:pt modelId="{B34E95A6-55CA-4572-9C73-EFC924E3C951}" type="pres">
      <dgm:prSet presAssocID="{6DFAE980-4AF5-40FE-B327-CDD7954104D9}" presName="parentText" presStyleLbl="node1" presStyleIdx="4" presStyleCnt="5">
        <dgm:presLayoutVars>
          <dgm:chMax val="0"/>
          <dgm:bulletEnabled val="1"/>
        </dgm:presLayoutVars>
      </dgm:prSet>
      <dgm:spPr/>
    </dgm:pt>
    <dgm:pt modelId="{BC470D77-3A93-4D66-ADEC-14798960340D}" type="pres">
      <dgm:prSet presAssocID="{6DFAE980-4AF5-40FE-B327-CDD7954104D9}" presName="negativeSpace" presStyleCnt="0"/>
      <dgm:spPr/>
    </dgm:pt>
    <dgm:pt modelId="{2A5A9608-8043-4241-99B8-56B867199FAC}" type="pres">
      <dgm:prSet presAssocID="{6DFAE980-4AF5-40FE-B327-CDD7954104D9}" presName="childText" presStyleLbl="conFgAcc1" presStyleIdx="4" presStyleCnt="5">
        <dgm:presLayoutVars>
          <dgm:bulletEnabled val="1"/>
        </dgm:presLayoutVars>
      </dgm:prSet>
      <dgm:spPr/>
    </dgm:pt>
  </dgm:ptLst>
  <dgm:cxnLst>
    <dgm:cxn modelId="{4AB98F2D-E611-48F3-93F1-F238ED611684}" type="presOf" srcId="{66084A79-791F-4A6E-ACB1-DB08EA30A07A}" destId="{D59B529E-D934-4B37-83CB-9252A3A4E7F6}" srcOrd="0" destOrd="0" presId="urn:microsoft.com/office/officeart/2005/8/layout/list1"/>
    <dgm:cxn modelId="{528F8138-2AB4-42B3-A8D9-BE706BEBB985}" srcId="{6E366156-5754-4F1D-9CB2-D5EED9D7CD94}" destId="{6DFAE980-4AF5-40FE-B327-CDD7954104D9}" srcOrd="4" destOrd="0" parTransId="{C89FADC3-5BA4-4D41-94EF-1CDD7BE79B8E}" sibTransId="{AB1D995F-BE9E-40CD-B655-9EC05A234D76}"/>
    <dgm:cxn modelId="{CA7BED3E-0DD0-441B-BDFE-B70F295A21BF}" type="presOf" srcId="{4ACE81C3-3594-4ADF-A11A-8B76C2F66122}" destId="{0526BCBE-2AB2-45AE-87B0-AE2675D54241}" srcOrd="1" destOrd="0" presId="urn:microsoft.com/office/officeart/2005/8/layout/list1"/>
    <dgm:cxn modelId="{A2D57144-AA2D-4151-94F3-3227F9844021}" type="presOf" srcId="{6DFAE980-4AF5-40FE-B327-CDD7954104D9}" destId="{B34E95A6-55CA-4572-9C73-EFC924E3C951}" srcOrd="1" destOrd="0" presId="urn:microsoft.com/office/officeart/2005/8/layout/list1"/>
    <dgm:cxn modelId="{0590534B-FB50-44AA-8A64-3699346D32EF}" type="presOf" srcId="{61A470F0-9D80-419B-A824-5F1187825FB1}" destId="{D636A3B7-34DB-4B5B-B301-40AC33C2E66E}" srcOrd="1" destOrd="0" presId="urn:microsoft.com/office/officeart/2005/8/layout/list1"/>
    <dgm:cxn modelId="{EEE6AB53-8158-4AC4-A208-CE9262DB8828}" srcId="{6E366156-5754-4F1D-9CB2-D5EED9D7CD94}" destId="{61A470F0-9D80-419B-A824-5F1187825FB1}" srcOrd="1" destOrd="0" parTransId="{88C10FD1-EF9B-4B0E-BAC6-0EDFBCF47245}" sibTransId="{D844D52C-3737-4D58-98C8-56D3E3F24E87}"/>
    <dgm:cxn modelId="{75AB957D-F3FB-4A1C-91B3-962322DC13EE}" type="presOf" srcId="{6DFAE980-4AF5-40FE-B327-CDD7954104D9}" destId="{0A0DB7DC-9D33-4F73-A70A-F63266BB245F}" srcOrd="0" destOrd="0" presId="urn:microsoft.com/office/officeart/2005/8/layout/list1"/>
    <dgm:cxn modelId="{92545494-8EEA-4489-BA45-9414D4E81FDA}" type="presOf" srcId="{4ACE81C3-3594-4ADF-A11A-8B76C2F66122}" destId="{BC8BFA01-EB1F-4655-A8AE-93E4A5B6EABB}" srcOrd="0" destOrd="0" presId="urn:microsoft.com/office/officeart/2005/8/layout/list1"/>
    <dgm:cxn modelId="{770012B9-A827-4D99-B00A-DFDEABAFD458}" type="presOf" srcId="{69C53A69-9DAC-4CFF-B2C2-FFBB3134B2F9}" destId="{06E75FEE-4E99-4AF6-8DAF-0468C2B6EC3D}" srcOrd="1" destOrd="0" presId="urn:microsoft.com/office/officeart/2005/8/layout/list1"/>
    <dgm:cxn modelId="{8DE3FCBC-8969-4DA6-AF98-67A20CE00841}" srcId="{6E366156-5754-4F1D-9CB2-D5EED9D7CD94}" destId="{66084A79-791F-4A6E-ACB1-DB08EA30A07A}" srcOrd="0" destOrd="0" parTransId="{12F7FAAB-D2AE-461E-A9AB-B90C994C816E}" sibTransId="{F6F7C2D8-F2E6-4423-B278-195D05308C33}"/>
    <dgm:cxn modelId="{C11ECACA-5A1B-4C5D-80B5-0B3349B5369D}" srcId="{6E366156-5754-4F1D-9CB2-D5EED9D7CD94}" destId="{4ACE81C3-3594-4ADF-A11A-8B76C2F66122}" srcOrd="3" destOrd="0" parTransId="{1FEB138B-778C-446E-9B84-46F2607F9D0A}" sibTransId="{11DB856C-2A49-421B-81CA-63BA7BA8665C}"/>
    <dgm:cxn modelId="{122A7AD9-1EFC-42E9-8BF9-220D8CB023DE}" type="presOf" srcId="{61A470F0-9D80-419B-A824-5F1187825FB1}" destId="{AFB331F1-92F9-494C-ABDA-062D82830E23}" srcOrd="0" destOrd="0" presId="urn:microsoft.com/office/officeart/2005/8/layout/list1"/>
    <dgm:cxn modelId="{7C0A3CE0-C08A-4F53-9DDA-28AA036B233B}" srcId="{6E366156-5754-4F1D-9CB2-D5EED9D7CD94}" destId="{69C53A69-9DAC-4CFF-B2C2-FFBB3134B2F9}" srcOrd="2" destOrd="0" parTransId="{82D424EC-E9F0-49E8-9D36-7DD5AF4283EB}" sibTransId="{1BAC2433-E9D4-4193-BDAC-0E2B75FEB2E8}"/>
    <dgm:cxn modelId="{3A34C1E7-1BC7-49EF-8153-1B238128CF1F}" type="presOf" srcId="{66084A79-791F-4A6E-ACB1-DB08EA30A07A}" destId="{1D622164-9990-484B-AACC-4D483CF929BF}" srcOrd="1" destOrd="0" presId="urn:microsoft.com/office/officeart/2005/8/layout/list1"/>
    <dgm:cxn modelId="{91EAB2E9-8D1F-499A-BA07-A78A1F9E2F4A}" type="presOf" srcId="{69C53A69-9DAC-4CFF-B2C2-FFBB3134B2F9}" destId="{97B0B520-6D81-4D01-8476-3D2D52FF0E37}" srcOrd="0" destOrd="0" presId="urn:microsoft.com/office/officeart/2005/8/layout/list1"/>
    <dgm:cxn modelId="{5A2348F6-8B3A-4CC5-8CCA-A228940F4841}" type="presOf" srcId="{6E366156-5754-4F1D-9CB2-D5EED9D7CD94}" destId="{31D74E54-D477-46EC-A510-A44650FA22DC}" srcOrd="0" destOrd="0" presId="urn:microsoft.com/office/officeart/2005/8/layout/list1"/>
    <dgm:cxn modelId="{DC60B0F2-C478-4C2A-ACD6-767C063AB06F}" type="presParOf" srcId="{31D74E54-D477-46EC-A510-A44650FA22DC}" destId="{C3ADB594-B148-4194-987C-1153DD3A8285}" srcOrd="0" destOrd="0" presId="urn:microsoft.com/office/officeart/2005/8/layout/list1"/>
    <dgm:cxn modelId="{A291BA8E-F31E-4457-8848-8DF1803B7B10}" type="presParOf" srcId="{C3ADB594-B148-4194-987C-1153DD3A8285}" destId="{D59B529E-D934-4B37-83CB-9252A3A4E7F6}" srcOrd="0" destOrd="0" presId="urn:microsoft.com/office/officeart/2005/8/layout/list1"/>
    <dgm:cxn modelId="{A410392A-3917-4656-9217-A1C4FE5F4C36}" type="presParOf" srcId="{C3ADB594-B148-4194-987C-1153DD3A8285}" destId="{1D622164-9990-484B-AACC-4D483CF929BF}" srcOrd="1" destOrd="0" presId="urn:microsoft.com/office/officeart/2005/8/layout/list1"/>
    <dgm:cxn modelId="{C543279D-9599-4555-B23F-AEDB8469AFC8}" type="presParOf" srcId="{31D74E54-D477-46EC-A510-A44650FA22DC}" destId="{7137032A-5AE1-4459-A844-F0096179D256}" srcOrd="1" destOrd="0" presId="urn:microsoft.com/office/officeart/2005/8/layout/list1"/>
    <dgm:cxn modelId="{2A7F6CA2-8BF8-46C5-934A-5BB18027CB84}" type="presParOf" srcId="{31D74E54-D477-46EC-A510-A44650FA22DC}" destId="{7D36885D-2758-475C-A93C-984174D11508}" srcOrd="2" destOrd="0" presId="urn:microsoft.com/office/officeart/2005/8/layout/list1"/>
    <dgm:cxn modelId="{EA3234CD-A973-448B-B589-A226FF3D959B}" type="presParOf" srcId="{31D74E54-D477-46EC-A510-A44650FA22DC}" destId="{88D42094-5DE2-4B2E-8DBE-7E6C631E92EC}" srcOrd="3" destOrd="0" presId="urn:microsoft.com/office/officeart/2005/8/layout/list1"/>
    <dgm:cxn modelId="{C165F1E6-6FCA-42D2-8B72-AD1D186C5D62}" type="presParOf" srcId="{31D74E54-D477-46EC-A510-A44650FA22DC}" destId="{C13A871D-7D65-4E26-A09E-4393A0A5284E}" srcOrd="4" destOrd="0" presId="urn:microsoft.com/office/officeart/2005/8/layout/list1"/>
    <dgm:cxn modelId="{EF315EBB-B3A4-40A2-B434-0F4609718FC3}" type="presParOf" srcId="{C13A871D-7D65-4E26-A09E-4393A0A5284E}" destId="{AFB331F1-92F9-494C-ABDA-062D82830E23}" srcOrd="0" destOrd="0" presId="urn:microsoft.com/office/officeart/2005/8/layout/list1"/>
    <dgm:cxn modelId="{E4A95D38-4686-4C4D-8772-73802767844C}" type="presParOf" srcId="{C13A871D-7D65-4E26-A09E-4393A0A5284E}" destId="{D636A3B7-34DB-4B5B-B301-40AC33C2E66E}" srcOrd="1" destOrd="0" presId="urn:microsoft.com/office/officeart/2005/8/layout/list1"/>
    <dgm:cxn modelId="{D1997648-229E-4D4E-ABDC-701B67101BB6}" type="presParOf" srcId="{31D74E54-D477-46EC-A510-A44650FA22DC}" destId="{95E2318F-6169-42E0-980F-622A34A10583}" srcOrd="5" destOrd="0" presId="urn:microsoft.com/office/officeart/2005/8/layout/list1"/>
    <dgm:cxn modelId="{9AA6BA4E-D1D4-48AE-A5AD-C44440B61DA7}" type="presParOf" srcId="{31D74E54-D477-46EC-A510-A44650FA22DC}" destId="{3F0E72B8-CFC3-4BCF-AA75-469A34C8364C}" srcOrd="6" destOrd="0" presId="urn:microsoft.com/office/officeart/2005/8/layout/list1"/>
    <dgm:cxn modelId="{3FEEA285-9DF2-4ECA-9B3F-50B98F321C1C}" type="presParOf" srcId="{31D74E54-D477-46EC-A510-A44650FA22DC}" destId="{88B284C8-CA47-4588-9FA5-A60AE4C4EE92}" srcOrd="7" destOrd="0" presId="urn:microsoft.com/office/officeart/2005/8/layout/list1"/>
    <dgm:cxn modelId="{2858F566-FF8A-4C94-9FD1-03BBF00D7BD3}" type="presParOf" srcId="{31D74E54-D477-46EC-A510-A44650FA22DC}" destId="{F318DDA0-68D9-4D10-99F9-461A80AFCD9E}" srcOrd="8" destOrd="0" presId="urn:microsoft.com/office/officeart/2005/8/layout/list1"/>
    <dgm:cxn modelId="{86655DB0-B306-4E1A-8102-B61FD0EA5E9C}" type="presParOf" srcId="{F318DDA0-68D9-4D10-99F9-461A80AFCD9E}" destId="{97B0B520-6D81-4D01-8476-3D2D52FF0E37}" srcOrd="0" destOrd="0" presId="urn:microsoft.com/office/officeart/2005/8/layout/list1"/>
    <dgm:cxn modelId="{6F6FFCED-3A8E-4D5D-A00E-DADB0BE5A515}" type="presParOf" srcId="{F318DDA0-68D9-4D10-99F9-461A80AFCD9E}" destId="{06E75FEE-4E99-4AF6-8DAF-0468C2B6EC3D}" srcOrd="1" destOrd="0" presId="urn:microsoft.com/office/officeart/2005/8/layout/list1"/>
    <dgm:cxn modelId="{F11B00C7-9BC0-437B-8863-06B89A85777E}" type="presParOf" srcId="{31D74E54-D477-46EC-A510-A44650FA22DC}" destId="{C558D22F-90EC-42B0-995D-54F70679B4CE}" srcOrd="9" destOrd="0" presId="urn:microsoft.com/office/officeart/2005/8/layout/list1"/>
    <dgm:cxn modelId="{25A004D5-BF28-4721-8D58-9A447539EE0B}" type="presParOf" srcId="{31D74E54-D477-46EC-A510-A44650FA22DC}" destId="{8A8BA251-C7DF-46F7-A755-C8B5B5AFA4FE}" srcOrd="10" destOrd="0" presId="urn:microsoft.com/office/officeart/2005/8/layout/list1"/>
    <dgm:cxn modelId="{344B5350-0FD3-4785-8CCF-75AAF6BF20F7}" type="presParOf" srcId="{31D74E54-D477-46EC-A510-A44650FA22DC}" destId="{C498C1E0-D4CC-4B59-80C4-5A2386DEC60A}" srcOrd="11" destOrd="0" presId="urn:microsoft.com/office/officeart/2005/8/layout/list1"/>
    <dgm:cxn modelId="{4F0224C8-22F7-4F96-B52C-CF7B1C6E9902}" type="presParOf" srcId="{31D74E54-D477-46EC-A510-A44650FA22DC}" destId="{63295BC0-065A-42E1-8BF3-B5AA9A449481}" srcOrd="12" destOrd="0" presId="urn:microsoft.com/office/officeart/2005/8/layout/list1"/>
    <dgm:cxn modelId="{B970380C-4031-4E48-A67C-3AFEF63BC5E9}" type="presParOf" srcId="{63295BC0-065A-42E1-8BF3-B5AA9A449481}" destId="{BC8BFA01-EB1F-4655-A8AE-93E4A5B6EABB}" srcOrd="0" destOrd="0" presId="urn:microsoft.com/office/officeart/2005/8/layout/list1"/>
    <dgm:cxn modelId="{4FD4A6EB-1EDB-42A2-9859-93DE0DE5E9DE}" type="presParOf" srcId="{63295BC0-065A-42E1-8BF3-B5AA9A449481}" destId="{0526BCBE-2AB2-45AE-87B0-AE2675D54241}" srcOrd="1" destOrd="0" presId="urn:microsoft.com/office/officeart/2005/8/layout/list1"/>
    <dgm:cxn modelId="{A0C5C9DE-1A27-40EB-8A89-1D5E33465EC2}" type="presParOf" srcId="{31D74E54-D477-46EC-A510-A44650FA22DC}" destId="{0CC65271-FC0F-4C79-A139-AF0355AEB7D1}" srcOrd="13" destOrd="0" presId="urn:microsoft.com/office/officeart/2005/8/layout/list1"/>
    <dgm:cxn modelId="{3E085CDF-AA48-431E-8018-879CB49B8EB3}" type="presParOf" srcId="{31D74E54-D477-46EC-A510-A44650FA22DC}" destId="{BACF4984-FD0F-45D6-856F-C91D08E97CFE}" srcOrd="14" destOrd="0" presId="urn:microsoft.com/office/officeart/2005/8/layout/list1"/>
    <dgm:cxn modelId="{A6F8494C-9296-47FC-B40D-4E8B00990C43}" type="presParOf" srcId="{31D74E54-D477-46EC-A510-A44650FA22DC}" destId="{B35D4507-4B39-4DB0-9E07-E3644C0F1F23}" srcOrd="15" destOrd="0" presId="urn:microsoft.com/office/officeart/2005/8/layout/list1"/>
    <dgm:cxn modelId="{4833C3E6-23B6-46FA-A1DE-0A2023459789}" type="presParOf" srcId="{31D74E54-D477-46EC-A510-A44650FA22DC}" destId="{9C83355E-521E-4A7F-A1E7-FCAE3C1BD75A}" srcOrd="16" destOrd="0" presId="urn:microsoft.com/office/officeart/2005/8/layout/list1"/>
    <dgm:cxn modelId="{37C57833-68C5-4227-B64E-69D4686167C0}" type="presParOf" srcId="{9C83355E-521E-4A7F-A1E7-FCAE3C1BD75A}" destId="{0A0DB7DC-9D33-4F73-A70A-F63266BB245F}" srcOrd="0" destOrd="0" presId="urn:microsoft.com/office/officeart/2005/8/layout/list1"/>
    <dgm:cxn modelId="{A9E922F9-52A2-4437-8AF6-BEAA1A05C2C1}" type="presParOf" srcId="{9C83355E-521E-4A7F-A1E7-FCAE3C1BD75A}" destId="{B34E95A6-55CA-4572-9C73-EFC924E3C951}" srcOrd="1" destOrd="0" presId="urn:microsoft.com/office/officeart/2005/8/layout/list1"/>
    <dgm:cxn modelId="{FB90A624-39C5-42E4-ABB9-0BB1B27BA62C}" type="presParOf" srcId="{31D74E54-D477-46EC-A510-A44650FA22DC}" destId="{BC470D77-3A93-4D66-ADEC-14798960340D}" srcOrd="17" destOrd="0" presId="urn:microsoft.com/office/officeart/2005/8/layout/list1"/>
    <dgm:cxn modelId="{803908F7-42C7-4EF1-8756-6AFC4CA3E929}" type="presParOf" srcId="{31D74E54-D477-46EC-A510-A44650FA22DC}" destId="{2A5A9608-8043-4241-99B8-56B867199FAC}"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1BE6CB-532B-4128-8453-BC02F428F803}" type="doc">
      <dgm:prSet loTypeId="urn:diagrams.loki3.com/BracketList" loCatId="list" qsTypeId="urn:microsoft.com/office/officeart/2005/8/quickstyle/simple4" qsCatId="simple" csTypeId="urn:microsoft.com/office/officeart/2005/8/colors/accent1_2" csCatId="accent1" phldr="1"/>
      <dgm:spPr/>
      <dgm:t>
        <a:bodyPr/>
        <a:lstStyle/>
        <a:p>
          <a:endParaRPr lang="en-IN"/>
        </a:p>
      </dgm:t>
    </dgm:pt>
    <dgm:pt modelId="{93DF1234-489A-4E72-9E37-4F9DA56BC35B}">
      <dgm:prSet custT="1"/>
      <dgm:spPr/>
      <dgm:t>
        <a:bodyPr/>
        <a:lstStyle/>
        <a:p>
          <a:r>
            <a:rPr lang="en-IN" sz="2400"/>
            <a:t>Decompose Application by Workload</a:t>
          </a:r>
        </a:p>
      </dgm:t>
    </dgm:pt>
    <dgm:pt modelId="{99CFAFA8-C7E4-45DD-A411-F1057C2E0EDF}" type="parTrans" cxnId="{DC76420D-24D3-4C5D-861C-FBE192A75E24}">
      <dgm:prSet/>
      <dgm:spPr/>
      <dgm:t>
        <a:bodyPr/>
        <a:lstStyle/>
        <a:p>
          <a:endParaRPr lang="en-IN" sz="1400"/>
        </a:p>
      </dgm:t>
    </dgm:pt>
    <dgm:pt modelId="{D87348BF-99AC-4DA8-8434-689DEC55E3E1}" type="sibTrans" cxnId="{DC76420D-24D3-4C5D-861C-FBE192A75E24}">
      <dgm:prSet/>
      <dgm:spPr/>
      <dgm:t>
        <a:bodyPr/>
        <a:lstStyle/>
        <a:p>
          <a:endParaRPr lang="en-IN" sz="1400"/>
        </a:p>
      </dgm:t>
    </dgm:pt>
    <dgm:pt modelId="{FEDCB25E-65BF-4488-BCF6-1D91B90CB54E}">
      <dgm:prSet custT="1"/>
      <dgm:spPr/>
      <dgm:t>
        <a:bodyPr/>
        <a:lstStyle/>
        <a:p>
          <a:r>
            <a:rPr lang="en-IN" sz="2400" dirty="0"/>
            <a:t>An e-commerce app might include the following workloads: Browse and search a product </a:t>
          </a:r>
          <a:r>
            <a:rPr lang="en-IN" sz="2400" dirty="0" err="1"/>
            <a:t>catalog</a:t>
          </a:r>
          <a:r>
            <a:rPr lang="en-IN" sz="2400" dirty="0"/>
            <a:t>, Create and track orders, View recommendations.</a:t>
          </a:r>
        </a:p>
      </dgm:t>
    </dgm:pt>
    <dgm:pt modelId="{68D9A745-BA11-4AB6-BEDB-B01E2D9C5BBC}" type="parTrans" cxnId="{D8575311-EEA4-4D55-9209-C76F4849756B}">
      <dgm:prSet/>
      <dgm:spPr/>
      <dgm:t>
        <a:bodyPr/>
        <a:lstStyle/>
        <a:p>
          <a:endParaRPr lang="en-IN" sz="1400"/>
        </a:p>
      </dgm:t>
    </dgm:pt>
    <dgm:pt modelId="{367E003D-18FE-411D-8F0C-EF1E13B7D7B9}" type="sibTrans" cxnId="{D8575311-EEA4-4D55-9209-C76F4849756B}">
      <dgm:prSet/>
      <dgm:spPr/>
      <dgm:t>
        <a:bodyPr/>
        <a:lstStyle/>
        <a:p>
          <a:endParaRPr lang="en-IN" sz="1400"/>
        </a:p>
      </dgm:t>
    </dgm:pt>
    <dgm:pt modelId="{35606BAE-009E-4C16-85A4-7CBF37B29472}">
      <dgm:prSet custT="1"/>
      <dgm:spPr/>
      <dgm:t>
        <a:bodyPr/>
        <a:lstStyle/>
        <a:p>
          <a:r>
            <a:rPr lang="en-IN" sz="2400"/>
            <a:t>Each workload may have different requirements for availability, scalability, data consistency, and disaster recovery</a:t>
          </a:r>
        </a:p>
      </dgm:t>
    </dgm:pt>
    <dgm:pt modelId="{4AA43EE8-F24D-4296-B20C-1BC06C9F3A50}" type="parTrans" cxnId="{95777CA7-12C4-4633-AFF9-B785F0259FC6}">
      <dgm:prSet/>
      <dgm:spPr/>
      <dgm:t>
        <a:bodyPr/>
        <a:lstStyle/>
        <a:p>
          <a:endParaRPr lang="en-IN" sz="1400"/>
        </a:p>
      </dgm:t>
    </dgm:pt>
    <dgm:pt modelId="{44B29832-115B-47D5-A12C-799883953B71}" type="sibTrans" cxnId="{95777CA7-12C4-4633-AFF9-B785F0259FC6}">
      <dgm:prSet/>
      <dgm:spPr/>
      <dgm:t>
        <a:bodyPr/>
        <a:lstStyle/>
        <a:p>
          <a:endParaRPr lang="en-IN" sz="1400"/>
        </a:p>
      </dgm:t>
    </dgm:pt>
    <dgm:pt modelId="{05A12986-1033-4255-9A0D-25F9041F7FD5}">
      <dgm:prSet custT="1"/>
      <dgm:spPr/>
      <dgm:t>
        <a:bodyPr/>
        <a:lstStyle/>
        <a:p>
          <a:r>
            <a:rPr lang="en-IN" sz="2400"/>
            <a:t>Categorizing applications into different tiers</a:t>
          </a:r>
        </a:p>
      </dgm:t>
    </dgm:pt>
    <dgm:pt modelId="{7C014E6C-FFCF-4DC9-8590-75CC50E3E429}" type="parTrans" cxnId="{EC5BBABD-7775-45D8-850A-4818C92130F0}">
      <dgm:prSet/>
      <dgm:spPr/>
      <dgm:t>
        <a:bodyPr/>
        <a:lstStyle/>
        <a:p>
          <a:endParaRPr lang="en-IN" sz="1400"/>
        </a:p>
      </dgm:t>
    </dgm:pt>
    <dgm:pt modelId="{7A1A173C-66D6-48F4-ADA4-AF59F6BA7182}" type="sibTrans" cxnId="{EC5BBABD-7775-45D8-850A-4818C92130F0}">
      <dgm:prSet/>
      <dgm:spPr/>
      <dgm:t>
        <a:bodyPr/>
        <a:lstStyle/>
        <a:p>
          <a:endParaRPr lang="en-IN" sz="1400"/>
        </a:p>
      </dgm:t>
    </dgm:pt>
    <dgm:pt modelId="{9F888F47-019F-467B-BE72-A67AFE912810}">
      <dgm:prSet custT="1"/>
      <dgm:spPr/>
      <dgm:t>
        <a:bodyPr/>
        <a:lstStyle/>
        <a:p>
          <a:r>
            <a:rPr lang="en-IN" sz="2400"/>
            <a:t>Each tier define the exact availability SLA, RPO, and RTO requirements</a:t>
          </a:r>
        </a:p>
      </dgm:t>
    </dgm:pt>
    <dgm:pt modelId="{90EB902A-DDA4-4AAE-8418-7F36E1004A7D}" type="parTrans" cxnId="{856BE976-5090-4547-885B-E7D6F86A1E16}">
      <dgm:prSet/>
      <dgm:spPr/>
      <dgm:t>
        <a:bodyPr/>
        <a:lstStyle/>
        <a:p>
          <a:endParaRPr lang="en-IN" sz="1400"/>
        </a:p>
      </dgm:t>
    </dgm:pt>
    <dgm:pt modelId="{1738E538-D6D5-4CC4-BB70-A759CC2FDB2D}" type="sibTrans" cxnId="{856BE976-5090-4547-885B-E7D6F86A1E16}">
      <dgm:prSet/>
      <dgm:spPr/>
      <dgm:t>
        <a:bodyPr/>
        <a:lstStyle/>
        <a:p>
          <a:endParaRPr lang="en-IN" sz="1400"/>
        </a:p>
      </dgm:t>
    </dgm:pt>
    <dgm:pt modelId="{BC272D30-E23E-4AD6-AF3F-C0B8AD607DD0}">
      <dgm:prSet custT="1"/>
      <dgm:spPr/>
      <dgm:t>
        <a:bodyPr/>
        <a:lstStyle/>
        <a:p>
          <a:r>
            <a:rPr lang="en-IN" sz="2400" dirty="0"/>
            <a:t>Categorization may vary from customer to customer or industry to industry</a:t>
          </a:r>
        </a:p>
      </dgm:t>
    </dgm:pt>
    <dgm:pt modelId="{DE53222B-2AA0-44E8-9AC0-BA30A5D91FF9}" type="parTrans" cxnId="{3962E6A2-D7FD-47DB-9607-29AD07A2D659}">
      <dgm:prSet/>
      <dgm:spPr/>
      <dgm:t>
        <a:bodyPr/>
        <a:lstStyle/>
        <a:p>
          <a:endParaRPr lang="en-IN" sz="1400"/>
        </a:p>
      </dgm:t>
    </dgm:pt>
    <dgm:pt modelId="{24413E1F-84B4-43E0-986A-3460252237CB}" type="sibTrans" cxnId="{3962E6A2-D7FD-47DB-9607-29AD07A2D659}">
      <dgm:prSet/>
      <dgm:spPr/>
      <dgm:t>
        <a:bodyPr/>
        <a:lstStyle/>
        <a:p>
          <a:endParaRPr lang="en-IN" sz="1400"/>
        </a:p>
      </dgm:t>
    </dgm:pt>
    <dgm:pt modelId="{FDD822FA-100A-46C9-A306-2F0CA883B610}">
      <dgm:prSet custT="1"/>
      <dgm:spPr/>
      <dgm:t>
        <a:bodyPr/>
        <a:lstStyle/>
        <a:p>
          <a:r>
            <a:rPr lang="en-IN" sz="2400" dirty="0"/>
            <a:t>Differentiate by Customer type (SaaS)</a:t>
          </a:r>
        </a:p>
      </dgm:t>
    </dgm:pt>
    <dgm:pt modelId="{B19045D3-DB35-485C-A593-9D9837D63953}" type="parTrans" cxnId="{B1FAF94D-5A62-4F3F-94F2-8F839D7E4B0B}">
      <dgm:prSet/>
      <dgm:spPr/>
      <dgm:t>
        <a:bodyPr/>
        <a:lstStyle/>
        <a:p>
          <a:endParaRPr lang="en-US"/>
        </a:p>
      </dgm:t>
    </dgm:pt>
    <dgm:pt modelId="{D8E72CFC-FB4A-4C6E-89F8-712FEC25A754}" type="sibTrans" cxnId="{B1FAF94D-5A62-4F3F-94F2-8F839D7E4B0B}">
      <dgm:prSet/>
      <dgm:spPr/>
      <dgm:t>
        <a:bodyPr/>
        <a:lstStyle/>
        <a:p>
          <a:endParaRPr lang="en-US"/>
        </a:p>
      </dgm:t>
    </dgm:pt>
    <dgm:pt modelId="{7BA6994D-E24D-450B-A4F8-1A67636965BB}">
      <dgm:prSet custT="1"/>
      <dgm:spPr/>
      <dgm:t>
        <a:bodyPr/>
        <a:lstStyle/>
        <a:p>
          <a:r>
            <a:rPr lang="en-IN" sz="2400" dirty="0"/>
            <a:t>Different Customers with different Non-Functional requirements, including resiliency (and scaling, perf…)</a:t>
          </a:r>
        </a:p>
      </dgm:t>
    </dgm:pt>
    <dgm:pt modelId="{2ED44139-3F20-4642-A565-1677E9715657}" type="parTrans" cxnId="{42D62DD6-A2F0-439D-80A9-1D90754C3305}">
      <dgm:prSet/>
      <dgm:spPr/>
      <dgm:t>
        <a:bodyPr/>
        <a:lstStyle/>
        <a:p>
          <a:endParaRPr lang="en-US"/>
        </a:p>
      </dgm:t>
    </dgm:pt>
    <dgm:pt modelId="{D07C182B-9BFB-4226-8339-8432B4DA073F}" type="sibTrans" cxnId="{42D62DD6-A2F0-439D-80A9-1D90754C3305}">
      <dgm:prSet/>
      <dgm:spPr/>
      <dgm:t>
        <a:bodyPr/>
        <a:lstStyle/>
        <a:p>
          <a:endParaRPr lang="en-US"/>
        </a:p>
      </dgm:t>
    </dgm:pt>
    <dgm:pt modelId="{01763729-3132-485D-B293-AAE4CFEEBDC6}">
      <dgm:prSet custT="1"/>
      <dgm:spPr/>
      <dgm:t>
        <a:bodyPr/>
        <a:lstStyle/>
        <a:p>
          <a:r>
            <a:rPr lang="en-IN" sz="2400" dirty="0"/>
            <a:t>Might consider accommodating those differences by having different deployments for different Customer types</a:t>
          </a:r>
        </a:p>
      </dgm:t>
    </dgm:pt>
    <dgm:pt modelId="{6B93FD3E-D42E-4716-BDB1-788B020798EF}" type="parTrans" cxnId="{D0BC5578-D005-4A02-9AF8-96BD7E8773F8}">
      <dgm:prSet/>
      <dgm:spPr/>
      <dgm:t>
        <a:bodyPr/>
        <a:lstStyle/>
        <a:p>
          <a:endParaRPr lang="en-US"/>
        </a:p>
      </dgm:t>
    </dgm:pt>
    <dgm:pt modelId="{B1ABA4AC-392A-43BD-AC4F-B9540B971737}" type="sibTrans" cxnId="{D0BC5578-D005-4A02-9AF8-96BD7E8773F8}">
      <dgm:prSet/>
      <dgm:spPr/>
      <dgm:t>
        <a:bodyPr/>
        <a:lstStyle/>
        <a:p>
          <a:endParaRPr lang="en-US"/>
        </a:p>
      </dgm:t>
    </dgm:pt>
    <dgm:pt modelId="{BE98FA3E-296A-4448-A064-027F1B735DB6}" type="pres">
      <dgm:prSet presAssocID="{AB1BE6CB-532B-4128-8453-BC02F428F803}" presName="Name0" presStyleCnt="0">
        <dgm:presLayoutVars>
          <dgm:dir/>
          <dgm:animLvl val="lvl"/>
          <dgm:resizeHandles val="exact"/>
        </dgm:presLayoutVars>
      </dgm:prSet>
      <dgm:spPr/>
    </dgm:pt>
    <dgm:pt modelId="{E8C4487F-14B3-4757-8209-A501BC7BBBAB}" type="pres">
      <dgm:prSet presAssocID="{93DF1234-489A-4E72-9E37-4F9DA56BC35B}" presName="linNode" presStyleCnt="0"/>
      <dgm:spPr/>
    </dgm:pt>
    <dgm:pt modelId="{D930FE56-8004-48E7-A775-7E949B8699E0}" type="pres">
      <dgm:prSet presAssocID="{93DF1234-489A-4E72-9E37-4F9DA56BC35B}" presName="parTx" presStyleLbl="revTx" presStyleIdx="0" presStyleCnt="3">
        <dgm:presLayoutVars>
          <dgm:chMax val="1"/>
          <dgm:bulletEnabled val="1"/>
        </dgm:presLayoutVars>
      </dgm:prSet>
      <dgm:spPr/>
    </dgm:pt>
    <dgm:pt modelId="{03035604-994E-4E7E-A76A-8C546A8BDF77}" type="pres">
      <dgm:prSet presAssocID="{93DF1234-489A-4E72-9E37-4F9DA56BC35B}" presName="bracket" presStyleLbl="parChTrans1D1" presStyleIdx="0" presStyleCnt="3"/>
      <dgm:spPr/>
    </dgm:pt>
    <dgm:pt modelId="{BC63A2D9-0E3D-481E-A7D2-99993496567F}" type="pres">
      <dgm:prSet presAssocID="{93DF1234-489A-4E72-9E37-4F9DA56BC35B}" presName="spH" presStyleCnt="0"/>
      <dgm:spPr/>
    </dgm:pt>
    <dgm:pt modelId="{266CA085-32BE-45C2-90C2-CC0A47895DFE}" type="pres">
      <dgm:prSet presAssocID="{93DF1234-489A-4E72-9E37-4F9DA56BC35B}" presName="desTx" presStyleLbl="node1" presStyleIdx="0" presStyleCnt="3">
        <dgm:presLayoutVars>
          <dgm:bulletEnabled val="1"/>
        </dgm:presLayoutVars>
      </dgm:prSet>
      <dgm:spPr/>
    </dgm:pt>
    <dgm:pt modelId="{78E42D77-8421-4A41-8062-A955812E535E}" type="pres">
      <dgm:prSet presAssocID="{D87348BF-99AC-4DA8-8434-689DEC55E3E1}" presName="spV" presStyleCnt="0"/>
      <dgm:spPr/>
    </dgm:pt>
    <dgm:pt modelId="{8B639840-318B-4D90-B71D-F86CF4D55B93}" type="pres">
      <dgm:prSet presAssocID="{05A12986-1033-4255-9A0D-25F9041F7FD5}" presName="linNode" presStyleCnt="0"/>
      <dgm:spPr/>
    </dgm:pt>
    <dgm:pt modelId="{2CEC1A99-03B7-4442-A919-898B2EC80F51}" type="pres">
      <dgm:prSet presAssocID="{05A12986-1033-4255-9A0D-25F9041F7FD5}" presName="parTx" presStyleLbl="revTx" presStyleIdx="1" presStyleCnt="3">
        <dgm:presLayoutVars>
          <dgm:chMax val="1"/>
          <dgm:bulletEnabled val="1"/>
        </dgm:presLayoutVars>
      </dgm:prSet>
      <dgm:spPr/>
    </dgm:pt>
    <dgm:pt modelId="{2C6D0642-5D68-4EB1-83B3-3400AC46DC65}" type="pres">
      <dgm:prSet presAssocID="{05A12986-1033-4255-9A0D-25F9041F7FD5}" presName="bracket" presStyleLbl="parChTrans1D1" presStyleIdx="1" presStyleCnt="3"/>
      <dgm:spPr/>
    </dgm:pt>
    <dgm:pt modelId="{C0FFBF4F-D627-471E-8DBB-0EBF6DAF89A6}" type="pres">
      <dgm:prSet presAssocID="{05A12986-1033-4255-9A0D-25F9041F7FD5}" presName="spH" presStyleCnt="0"/>
      <dgm:spPr/>
    </dgm:pt>
    <dgm:pt modelId="{E33322E1-6236-46C2-9CFE-CB653CBC39A4}" type="pres">
      <dgm:prSet presAssocID="{05A12986-1033-4255-9A0D-25F9041F7FD5}" presName="desTx" presStyleLbl="node1" presStyleIdx="1" presStyleCnt="3">
        <dgm:presLayoutVars>
          <dgm:bulletEnabled val="1"/>
        </dgm:presLayoutVars>
      </dgm:prSet>
      <dgm:spPr/>
    </dgm:pt>
    <dgm:pt modelId="{E69048C9-E61B-4264-A76A-4396D39E8451}" type="pres">
      <dgm:prSet presAssocID="{7A1A173C-66D6-48F4-ADA4-AF59F6BA7182}" presName="spV" presStyleCnt="0"/>
      <dgm:spPr/>
    </dgm:pt>
    <dgm:pt modelId="{710F05E7-3EF6-44EC-AD57-476DCC3D5804}" type="pres">
      <dgm:prSet presAssocID="{FDD822FA-100A-46C9-A306-2F0CA883B610}" presName="linNode" presStyleCnt="0"/>
      <dgm:spPr/>
    </dgm:pt>
    <dgm:pt modelId="{0E8E3514-64FE-46AE-A860-C147CC73DA62}" type="pres">
      <dgm:prSet presAssocID="{FDD822FA-100A-46C9-A306-2F0CA883B610}" presName="parTx" presStyleLbl="revTx" presStyleIdx="2" presStyleCnt="3">
        <dgm:presLayoutVars>
          <dgm:chMax val="1"/>
          <dgm:bulletEnabled val="1"/>
        </dgm:presLayoutVars>
      </dgm:prSet>
      <dgm:spPr/>
    </dgm:pt>
    <dgm:pt modelId="{D80685E5-192C-4F8D-A82A-E1D55B64DC2F}" type="pres">
      <dgm:prSet presAssocID="{FDD822FA-100A-46C9-A306-2F0CA883B610}" presName="bracket" presStyleLbl="parChTrans1D1" presStyleIdx="2" presStyleCnt="3"/>
      <dgm:spPr/>
    </dgm:pt>
    <dgm:pt modelId="{0A34FC9D-5F0D-4B79-B94B-B807F1A65467}" type="pres">
      <dgm:prSet presAssocID="{FDD822FA-100A-46C9-A306-2F0CA883B610}" presName="spH" presStyleCnt="0"/>
      <dgm:spPr/>
    </dgm:pt>
    <dgm:pt modelId="{C62B6FB2-5E70-40E3-8F3B-A54AD4D61527}" type="pres">
      <dgm:prSet presAssocID="{FDD822FA-100A-46C9-A306-2F0CA883B610}" presName="desTx" presStyleLbl="node1" presStyleIdx="2" presStyleCnt="3">
        <dgm:presLayoutVars>
          <dgm:bulletEnabled val="1"/>
        </dgm:presLayoutVars>
      </dgm:prSet>
      <dgm:spPr/>
    </dgm:pt>
  </dgm:ptLst>
  <dgm:cxnLst>
    <dgm:cxn modelId="{61DBB504-692E-4434-9F2E-5331C8E56901}" type="presOf" srcId="{FDD822FA-100A-46C9-A306-2F0CA883B610}" destId="{0E8E3514-64FE-46AE-A860-C147CC73DA62}" srcOrd="0" destOrd="0" presId="urn:diagrams.loki3.com/BracketList"/>
    <dgm:cxn modelId="{DC76420D-24D3-4C5D-861C-FBE192A75E24}" srcId="{AB1BE6CB-532B-4128-8453-BC02F428F803}" destId="{93DF1234-489A-4E72-9E37-4F9DA56BC35B}" srcOrd="0" destOrd="0" parTransId="{99CFAFA8-C7E4-45DD-A411-F1057C2E0EDF}" sibTransId="{D87348BF-99AC-4DA8-8434-689DEC55E3E1}"/>
    <dgm:cxn modelId="{D8575311-EEA4-4D55-9209-C76F4849756B}" srcId="{93DF1234-489A-4E72-9E37-4F9DA56BC35B}" destId="{FEDCB25E-65BF-4488-BCF6-1D91B90CB54E}" srcOrd="0" destOrd="0" parTransId="{68D9A745-BA11-4AB6-BEDB-B01E2D9C5BBC}" sibTransId="{367E003D-18FE-411D-8F0C-EF1E13B7D7B9}"/>
    <dgm:cxn modelId="{C366A219-4B2C-4EE4-AB26-20FF9BA2C812}" type="presOf" srcId="{9F888F47-019F-467B-BE72-A67AFE912810}" destId="{E33322E1-6236-46C2-9CFE-CB653CBC39A4}" srcOrd="0" destOrd="0" presId="urn:diagrams.loki3.com/BracketList"/>
    <dgm:cxn modelId="{13B3AA67-60A4-46A8-A426-8AFC4965DEC3}" type="presOf" srcId="{BC272D30-E23E-4AD6-AF3F-C0B8AD607DD0}" destId="{E33322E1-6236-46C2-9CFE-CB653CBC39A4}" srcOrd="0" destOrd="1" presId="urn:diagrams.loki3.com/BracketList"/>
    <dgm:cxn modelId="{16E93348-DC52-4F91-B6E1-797C08EF771A}" type="presOf" srcId="{FEDCB25E-65BF-4488-BCF6-1D91B90CB54E}" destId="{266CA085-32BE-45C2-90C2-CC0A47895DFE}" srcOrd="0" destOrd="0" presId="urn:diagrams.loki3.com/BracketList"/>
    <dgm:cxn modelId="{B1FAF94D-5A62-4F3F-94F2-8F839D7E4B0B}" srcId="{AB1BE6CB-532B-4128-8453-BC02F428F803}" destId="{FDD822FA-100A-46C9-A306-2F0CA883B610}" srcOrd="2" destOrd="0" parTransId="{B19045D3-DB35-485C-A593-9D9837D63953}" sibTransId="{D8E72CFC-FB4A-4C6E-89F8-712FEC25A754}"/>
    <dgm:cxn modelId="{856BE976-5090-4547-885B-E7D6F86A1E16}" srcId="{05A12986-1033-4255-9A0D-25F9041F7FD5}" destId="{9F888F47-019F-467B-BE72-A67AFE912810}" srcOrd="0" destOrd="0" parTransId="{90EB902A-DDA4-4AAE-8418-7F36E1004A7D}" sibTransId="{1738E538-D6D5-4CC4-BB70-A759CC2FDB2D}"/>
    <dgm:cxn modelId="{D0BC5578-D005-4A02-9AF8-96BD7E8773F8}" srcId="{FDD822FA-100A-46C9-A306-2F0CA883B610}" destId="{01763729-3132-485D-B293-AAE4CFEEBDC6}" srcOrd="1" destOrd="0" parTransId="{6B93FD3E-D42E-4716-BDB1-788B020798EF}" sibTransId="{B1ABA4AC-392A-43BD-AC4F-B9540B971737}"/>
    <dgm:cxn modelId="{8CB4D878-8225-481C-BF11-8A34DEAF5F2F}" type="presOf" srcId="{AB1BE6CB-532B-4128-8453-BC02F428F803}" destId="{BE98FA3E-296A-4448-A064-027F1B735DB6}" srcOrd="0" destOrd="0" presId="urn:diagrams.loki3.com/BracketList"/>
    <dgm:cxn modelId="{F9E36493-3B00-4637-A47B-9B1A45DE2103}" type="presOf" srcId="{05A12986-1033-4255-9A0D-25F9041F7FD5}" destId="{2CEC1A99-03B7-4442-A919-898B2EC80F51}" srcOrd="0" destOrd="0" presId="urn:diagrams.loki3.com/BracketList"/>
    <dgm:cxn modelId="{3962E6A2-D7FD-47DB-9607-29AD07A2D659}" srcId="{05A12986-1033-4255-9A0D-25F9041F7FD5}" destId="{BC272D30-E23E-4AD6-AF3F-C0B8AD607DD0}" srcOrd="1" destOrd="0" parTransId="{DE53222B-2AA0-44E8-9AC0-BA30A5D91FF9}" sibTransId="{24413E1F-84B4-43E0-986A-3460252237CB}"/>
    <dgm:cxn modelId="{95777CA7-12C4-4633-AFF9-B785F0259FC6}" srcId="{93DF1234-489A-4E72-9E37-4F9DA56BC35B}" destId="{35606BAE-009E-4C16-85A4-7CBF37B29472}" srcOrd="1" destOrd="0" parTransId="{4AA43EE8-F24D-4296-B20C-1BC06C9F3A50}" sibTransId="{44B29832-115B-47D5-A12C-799883953B71}"/>
    <dgm:cxn modelId="{EC5BBABD-7775-45D8-850A-4818C92130F0}" srcId="{AB1BE6CB-532B-4128-8453-BC02F428F803}" destId="{05A12986-1033-4255-9A0D-25F9041F7FD5}" srcOrd="1" destOrd="0" parTransId="{7C014E6C-FFCF-4DC9-8590-75CC50E3E429}" sibTransId="{7A1A173C-66D6-48F4-ADA4-AF59F6BA7182}"/>
    <dgm:cxn modelId="{42D62DD6-A2F0-439D-80A9-1D90754C3305}" srcId="{FDD822FA-100A-46C9-A306-2F0CA883B610}" destId="{7BA6994D-E24D-450B-A4F8-1A67636965BB}" srcOrd="0" destOrd="0" parTransId="{2ED44139-3F20-4642-A565-1677E9715657}" sibTransId="{D07C182B-9BFB-4226-8339-8432B4DA073F}"/>
    <dgm:cxn modelId="{BB6BA1DA-7BD4-4D8E-BC42-801839424D4B}" type="presOf" srcId="{35606BAE-009E-4C16-85A4-7CBF37B29472}" destId="{266CA085-32BE-45C2-90C2-CC0A47895DFE}" srcOrd="0" destOrd="1" presId="urn:diagrams.loki3.com/BracketList"/>
    <dgm:cxn modelId="{15E50DEB-61F8-4761-8E91-AB0FB25226D0}" type="presOf" srcId="{01763729-3132-485D-B293-AAE4CFEEBDC6}" destId="{C62B6FB2-5E70-40E3-8F3B-A54AD4D61527}" srcOrd="0" destOrd="1" presId="urn:diagrams.loki3.com/BracketList"/>
    <dgm:cxn modelId="{6C2313EF-5B9D-4F1E-B14C-E7C4470DCE64}" type="presOf" srcId="{93DF1234-489A-4E72-9E37-4F9DA56BC35B}" destId="{D930FE56-8004-48E7-A775-7E949B8699E0}" srcOrd="0" destOrd="0" presId="urn:diagrams.loki3.com/BracketList"/>
    <dgm:cxn modelId="{7C099AF6-5635-4AB8-A44A-870F5EBEBA09}" type="presOf" srcId="{7BA6994D-E24D-450B-A4F8-1A67636965BB}" destId="{C62B6FB2-5E70-40E3-8F3B-A54AD4D61527}" srcOrd="0" destOrd="0" presId="urn:diagrams.loki3.com/BracketList"/>
    <dgm:cxn modelId="{986A9129-231F-4DA1-8D1F-E39FFF081E52}" type="presParOf" srcId="{BE98FA3E-296A-4448-A064-027F1B735DB6}" destId="{E8C4487F-14B3-4757-8209-A501BC7BBBAB}" srcOrd="0" destOrd="0" presId="urn:diagrams.loki3.com/BracketList"/>
    <dgm:cxn modelId="{014E402D-F3B7-4ABE-954F-0FC9C9B90B8F}" type="presParOf" srcId="{E8C4487F-14B3-4757-8209-A501BC7BBBAB}" destId="{D930FE56-8004-48E7-A775-7E949B8699E0}" srcOrd="0" destOrd="0" presId="urn:diagrams.loki3.com/BracketList"/>
    <dgm:cxn modelId="{BEF91BC7-340F-4D68-ABBC-1A6B1E455F99}" type="presParOf" srcId="{E8C4487F-14B3-4757-8209-A501BC7BBBAB}" destId="{03035604-994E-4E7E-A76A-8C546A8BDF77}" srcOrd="1" destOrd="0" presId="urn:diagrams.loki3.com/BracketList"/>
    <dgm:cxn modelId="{D6F6FE11-207B-4773-8D1D-A3BE504F95F5}" type="presParOf" srcId="{E8C4487F-14B3-4757-8209-A501BC7BBBAB}" destId="{BC63A2D9-0E3D-481E-A7D2-99993496567F}" srcOrd="2" destOrd="0" presId="urn:diagrams.loki3.com/BracketList"/>
    <dgm:cxn modelId="{7E54E20D-780D-42EF-AA8F-F4B7AB32D355}" type="presParOf" srcId="{E8C4487F-14B3-4757-8209-A501BC7BBBAB}" destId="{266CA085-32BE-45C2-90C2-CC0A47895DFE}" srcOrd="3" destOrd="0" presId="urn:diagrams.loki3.com/BracketList"/>
    <dgm:cxn modelId="{FEF751EE-C4C3-48A2-BCA8-5DA55CBD302C}" type="presParOf" srcId="{BE98FA3E-296A-4448-A064-027F1B735DB6}" destId="{78E42D77-8421-4A41-8062-A955812E535E}" srcOrd="1" destOrd="0" presId="urn:diagrams.loki3.com/BracketList"/>
    <dgm:cxn modelId="{AC34B0B6-B670-4593-A681-8DA5E595D012}" type="presParOf" srcId="{BE98FA3E-296A-4448-A064-027F1B735DB6}" destId="{8B639840-318B-4D90-B71D-F86CF4D55B93}" srcOrd="2" destOrd="0" presId="urn:diagrams.loki3.com/BracketList"/>
    <dgm:cxn modelId="{FF8A7A46-6BEE-4CD7-BF9E-E30B5112E2A6}" type="presParOf" srcId="{8B639840-318B-4D90-B71D-F86CF4D55B93}" destId="{2CEC1A99-03B7-4442-A919-898B2EC80F51}" srcOrd="0" destOrd="0" presId="urn:diagrams.loki3.com/BracketList"/>
    <dgm:cxn modelId="{9A940BAB-DCFF-46C8-8D4B-891B1C473A11}" type="presParOf" srcId="{8B639840-318B-4D90-B71D-F86CF4D55B93}" destId="{2C6D0642-5D68-4EB1-83B3-3400AC46DC65}" srcOrd="1" destOrd="0" presId="urn:diagrams.loki3.com/BracketList"/>
    <dgm:cxn modelId="{E6C44DA0-D4B1-4ACA-B3B6-11BE63A48C7F}" type="presParOf" srcId="{8B639840-318B-4D90-B71D-F86CF4D55B93}" destId="{C0FFBF4F-D627-471E-8DBB-0EBF6DAF89A6}" srcOrd="2" destOrd="0" presId="urn:diagrams.loki3.com/BracketList"/>
    <dgm:cxn modelId="{3A648426-9080-476E-B918-7C29B42AF8B7}" type="presParOf" srcId="{8B639840-318B-4D90-B71D-F86CF4D55B93}" destId="{E33322E1-6236-46C2-9CFE-CB653CBC39A4}" srcOrd="3" destOrd="0" presId="urn:diagrams.loki3.com/BracketList"/>
    <dgm:cxn modelId="{871877A7-D70B-465A-A784-6A4EF2CEFBCF}" type="presParOf" srcId="{BE98FA3E-296A-4448-A064-027F1B735DB6}" destId="{E69048C9-E61B-4264-A76A-4396D39E8451}" srcOrd="3" destOrd="0" presId="urn:diagrams.loki3.com/BracketList"/>
    <dgm:cxn modelId="{1F8E4FBA-57CF-4C06-B170-8341E5487487}" type="presParOf" srcId="{BE98FA3E-296A-4448-A064-027F1B735DB6}" destId="{710F05E7-3EF6-44EC-AD57-476DCC3D5804}" srcOrd="4" destOrd="0" presId="urn:diagrams.loki3.com/BracketList"/>
    <dgm:cxn modelId="{8F923931-6856-4107-B9D7-03E98076DF0D}" type="presParOf" srcId="{710F05E7-3EF6-44EC-AD57-476DCC3D5804}" destId="{0E8E3514-64FE-46AE-A860-C147CC73DA62}" srcOrd="0" destOrd="0" presId="urn:diagrams.loki3.com/BracketList"/>
    <dgm:cxn modelId="{E9C1EB10-8579-4F69-AF9A-7F8C896A2874}" type="presParOf" srcId="{710F05E7-3EF6-44EC-AD57-476DCC3D5804}" destId="{D80685E5-192C-4F8D-A82A-E1D55B64DC2F}" srcOrd="1" destOrd="0" presId="urn:diagrams.loki3.com/BracketList"/>
    <dgm:cxn modelId="{9AE94A89-47B6-4DB2-878F-4AA28DD2E2B5}" type="presParOf" srcId="{710F05E7-3EF6-44EC-AD57-476DCC3D5804}" destId="{0A34FC9D-5F0D-4B79-B94B-B807F1A65467}" srcOrd="2" destOrd="0" presId="urn:diagrams.loki3.com/BracketList"/>
    <dgm:cxn modelId="{15906BCE-E6A9-41FF-BF7D-54F351E29B38}" type="presParOf" srcId="{710F05E7-3EF6-44EC-AD57-476DCC3D5804}" destId="{C62B6FB2-5E70-40E3-8F3B-A54AD4D6152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8A04E13-0B78-46AE-B97F-EEB191A28AF6}" type="doc">
      <dgm:prSet loTypeId="urn:microsoft.com/office/officeart/2005/8/layout/default" loCatId="list" qsTypeId="urn:microsoft.com/office/officeart/2005/8/quickstyle/simple4" qsCatId="simple" csTypeId="urn:microsoft.com/office/officeart/2005/8/colors/accent1_2" csCatId="accent1"/>
      <dgm:spPr/>
      <dgm:t>
        <a:bodyPr/>
        <a:lstStyle/>
        <a:p>
          <a:endParaRPr lang="en-IN"/>
        </a:p>
      </dgm:t>
    </dgm:pt>
    <dgm:pt modelId="{2889EC50-DC02-4E9A-9B77-8D58D912C5D8}">
      <dgm:prSet/>
      <dgm:spPr/>
      <dgm:t>
        <a:bodyPr/>
        <a:lstStyle/>
        <a:p>
          <a:r>
            <a:rPr lang="en-IN"/>
            <a:t>Hardware failure</a:t>
          </a:r>
        </a:p>
      </dgm:t>
    </dgm:pt>
    <dgm:pt modelId="{6D39AD4C-CE68-4608-95CA-64EEFC28D026}" type="parTrans" cxnId="{939FB904-057D-47F1-BB24-3D2CAE10655F}">
      <dgm:prSet/>
      <dgm:spPr/>
      <dgm:t>
        <a:bodyPr/>
        <a:lstStyle/>
        <a:p>
          <a:endParaRPr lang="en-IN"/>
        </a:p>
      </dgm:t>
    </dgm:pt>
    <dgm:pt modelId="{D97B9861-326B-47DF-861F-F51AB8EC0C74}" type="sibTrans" cxnId="{939FB904-057D-47F1-BB24-3D2CAE10655F}">
      <dgm:prSet/>
      <dgm:spPr/>
      <dgm:t>
        <a:bodyPr/>
        <a:lstStyle/>
        <a:p>
          <a:endParaRPr lang="en-IN"/>
        </a:p>
      </dgm:t>
    </dgm:pt>
    <dgm:pt modelId="{D7E1BFC6-89AC-473E-8CD1-909E984BE040}">
      <dgm:prSet/>
      <dgm:spPr/>
      <dgm:t>
        <a:bodyPr/>
        <a:lstStyle/>
        <a:p>
          <a:r>
            <a:rPr lang="en-IN"/>
            <a:t>Datacenter failure</a:t>
          </a:r>
        </a:p>
      </dgm:t>
    </dgm:pt>
    <dgm:pt modelId="{A88026B4-F836-4E5F-8A43-71FFCCCF971C}" type="parTrans" cxnId="{3CF7C382-7D27-4C29-BCE2-DFB64960D81A}">
      <dgm:prSet/>
      <dgm:spPr/>
      <dgm:t>
        <a:bodyPr/>
        <a:lstStyle/>
        <a:p>
          <a:endParaRPr lang="en-IN"/>
        </a:p>
      </dgm:t>
    </dgm:pt>
    <dgm:pt modelId="{DAEC072F-296D-482F-A066-66D470BB91BE}" type="sibTrans" cxnId="{3CF7C382-7D27-4C29-BCE2-DFB64960D81A}">
      <dgm:prSet/>
      <dgm:spPr/>
      <dgm:t>
        <a:bodyPr/>
        <a:lstStyle/>
        <a:p>
          <a:endParaRPr lang="en-IN"/>
        </a:p>
      </dgm:t>
    </dgm:pt>
    <dgm:pt modelId="{44DC67E7-DAA5-4D57-8939-358ADD453DAC}">
      <dgm:prSet/>
      <dgm:spPr/>
      <dgm:t>
        <a:bodyPr/>
        <a:lstStyle/>
        <a:p>
          <a:r>
            <a:rPr lang="en-IN"/>
            <a:t>Regional failure </a:t>
          </a:r>
        </a:p>
      </dgm:t>
    </dgm:pt>
    <dgm:pt modelId="{F419A4D1-5C95-462F-96A3-1D6C703637E5}" type="parTrans" cxnId="{E0571BAA-A901-4493-8735-F78A40711458}">
      <dgm:prSet/>
      <dgm:spPr/>
      <dgm:t>
        <a:bodyPr/>
        <a:lstStyle/>
        <a:p>
          <a:endParaRPr lang="en-IN"/>
        </a:p>
      </dgm:t>
    </dgm:pt>
    <dgm:pt modelId="{23196375-7C67-42FA-8B13-7183FF2A0A50}" type="sibTrans" cxnId="{E0571BAA-A901-4493-8735-F78A40711458}">
      <dgm:prSet/>
      <dgm:spPr/>
      <dgm:t>
        <a:bodyPr/>
        <a:lstStyle/>
        <a:p>
          <a:endParaRPr lang="en-IN"/>
        </a:p>
      </dgm:t>
    </dgm:pt>
    <dgm:pt modelId="{D0788A4F-DC8B-4192-AB02-8EAC4790AC2E}">
      <dgm:prSet/>
      <dgm:spPr/>
      <dgm:t>
        <a:bodyPr/>
        <a:lstStyle/>
        <a:p>
          <a:r>
            <a:rPr lang="en-IN"/>
            <a:t>Transient failure</a:t>
          </a:r>
        </a:p>
      </dgm:t>
    </dgm:pt>
    <dgm:pt modelId="{D08C19D9-E3E4-4BBD-97C0-F8AB86185946}" type="parTrans" cxnId="{878DC3ED-6FBC-487C-A3D7-6A1C21708C9A}">
      <dgm:prSet/>
      <dgm:spPr/>
      <dgm:t>
        <a:bodyPr/>
        <a:lstStyle/>
        <a:p>
          <a:endParaRPr lang="en-IN"/>
        </a:p>
      </dgm:t>
    </dgm:pt>
    <dgm:pt modelId="{1AB7DF0D-F273-43DD-97D0-E51CDB7F95BF}" type="sibTrans" cxnId="{878DC3ED-6FBC-487C-A3D7-6A1C21708C9A}">
      <dgm:prSet/>
      <dgm:spPr/>
      <dgm:t>
        <a:bodyPr/>
        <a:lstStyle/>
        <a:p>
          <a:endParaRPr lang="en-IN"/>
        </a:p>
      </dgm:t>
    </dgm:pt>
    <dgm:pt modelId="{65A6740C-F83D-4F8A-908C-3A8C3A2BEBD2}">
      <dgm:prSet/>
      <dgm:spPr/>
      <dgm:t>
        <a:bodyPr/>
        <a:lstStyle/>
        <a:p>
          <a:r>
            <a:rPr lang="en-IN"/>
            <a:t>Dependency service failure</a:t>
          </a:r>
        </a:p>
      </dgm:t>
    </dgm:pt>
    <dgm:pt modelId="{7643426C-01CC-4870-95F8-3ECF6AE403C5}" type="parTrans" cxnId="{5773E092-A24E-4E31-9BCE-5F94A20DEF24}">
      <dgm:prSet/>
      <dgm:spPr/>
      <dgm:t>
        <a:bodyPr/>
        <a:lstStyle/>
        <a:p>
          <a:endParaRPr lang="en-IN"/>
        </a:p>
      </dgm:t>
    </dgm:pt>
    <dgm:pt modelId="{9FB5729B-876B-4D1F-9C17-2B0DDEC2CD6D}" type="sibTrans" cxnId="{5773E092-A24E-4E31-9BCE-5F94A20DEF24}">
      <dgm:prSet/>
      <dgm:spPr/>
      <dgm:t>
        <a:bodyPr/>
        <a:lstStyle/>
        <a:p>
          <a:endParaRPr lang="en-IN"/>
        </a:p>
      </dgm:t>
    </dgm:pt>
    <dgm:pt modelId="{1CC0E5E7-BDB5-491A-AAA1-58C9B43773C5}">
      <dgm:prSet/>
      <dgm:spPr/>
      <dgm:t>
        <a:bodyPr/>
        <a:lstStyle/>
        <a:p>
          <a:r>
            <a:rPr lang="en-IN"/>
            <a:t>Accidental data deletion or corruption</a:t>
          </a:r>
        </a:p>
      </dgm:t>
    </dgm:pt>
    <dgm:pt modelId="{9087AF01-3F80-479D-ADA7-E56E93C13EEB}" type="parTrans" cxnId="{6B191700-3D4E-4520-836A-0A6095958E33}">
      <dgm:prSet/>
      <dgm:spPr/>
      <dgm:t>
        <a:bodyPr/>
        <a:lstStyle/>
        <a:p>
          <a:endParaRPr lang="en-IN"/>
        </a:p>
      </dgm:t>
    </dgm:pt>
    <dgm:pt modelId="{65AA31A7-01C5-4A43-BC9D-CF6FE8B8D472}" type="sibTrans" cxnId="{6B191700-3D4E-4520-836A-0A6095958E33}">
      <dgm:prSet/>
      <dgm:spPr/>
      <dgm:t>
        <a:bodyPr/>
        <a:lstStyle/>
        <a:p>
          <a:endParaRPr lang="en-IN"/>
        </a:p>
      </dgm:t>
    </dgm:pt>
    <dgm:pt modelId="{B28D658F-DA5D-43D3-A94B-A58220A08635}">
      <dgm:prSet/>
      <dgm:spPr/>
      <dgm:t>
        <a:bodyPr/>
        <a:lstStyle/>
        <a:p>
          <a:r>
            <a:rPr lang="en-IN"/>
            <a:t>Application deployment failure</a:t>
          </a:r>
        </a:p>
      </dgm:t>
    </dgm:pt>
    <dgm:pt modelId="{F901B85E-DE72-40B3-8561-04D38E582C8D}" type="parTrans" cxnId="{F724EA11-2DB1-4675-8829-80C339833BFC}">
      <dgm:prSet/>
      <dgm:spPr/>
      <dgm:t>
        <a:bodyPr/>
        <a:lstStyle/>
        <a:p>
          <a:endParaRPr lang="en-IN"/>
        </a:p>
      </dgm:t>
    </dgm:pt>
    <dgm:pt modelId="{205A4F33-4910-40B8-9489-1035A8A9A358}" type="sibTrans" cxnId="{F724EA11-2DB1-4675-8829-80C339833BFC}">
      <dgm:prSet/>
      <dgm:spPr/>
      <dgm:t>
        <a:bodyPr/>
        <a:lstStyle/>
        <a:p>
          <a:endParaRPr lang="en-IN"/>
        </a:p>
      </dgm:t>
    </dgm:pt>
    <dgm:pt modelId="{5B2A2E00-6084-4B64-A0AF-F3DF01689880}" type="pres">
      <dgm:prSet presAssocID="{88A04E13-0B78-46AE-B97F-EEB191A28AF6}" presName="diagram" presStyleCnt="0">
        <dgm:presLayoutVars>
          <dgm:dir/>
          <dgm:resizeHandles val="exact"/>
        </dgm:presLayoutVars>
      </dgm:prSet>
      <dgm:spPr/>
    </dgm:pt>
    <dgm:pt modelId="{7BD6E389-31B2-4CDF-83E8-2A9ED357023B}" type="pres">
      <dgm:prSet presAssocID="{2889EC50-DC02-4E9A-9B77-8D58D912C5D8}" presName="node" presStyleLbl="node1" presStyleIdx="0" presStyleCnt="7">
        <dgm:presLayoutVars>
          <dgm:bulletEnabled val="1"/>
        </dgm:presLayoutVars>
      </dgm:prSet>
      <dgm:spPr/>
    </dgm:pt>
    <dgm:pt modelId="{C6B6514F-EA66-49EB-AF95-69974F04FF0A}" type="pres">
      <dgm:prSet presAssocID="{D97B9861-326B-47DF-861F-F51AB8EC0C74}" presName="sibTrans" presStyleCnt="0"/>
      <dgm:spPr/>
    </dgm:pt>
    <dgm:pt modelId="{07C206BA-72E3-4D0C-8357-5240DABE95E5}" type="pres">
      <dgm:prSet presAssocID="{D7E1BFC6-89AC-473E-8CD1-909E984BE040}" presName="node" presStyleLbl="node1" presStyleIdx="1" presStyleCnt="7">
        <dgm:presLayoutVars>
          <dgm:bulletEnabled val="1"/>
        </dgm:presLayoutVars>
      </dgm:prSet>
      <dgm:spPr/>
    </dgm:pt>
    <dgm:pt modelId="{2B0B6582-347F-4E3D-98B9-013C765E858C}" type="pres">
      <dgm:prSet presAssocID="{DAEC072F-296D-482F-A066-66D470BB91BE}" presName="sibTrans" presStyleCnt="0"/>
      <dgm:spPr/>
    </dgm:pt>
    <dgm:pt modelId="{161464D0-A3EA-4005-920A-6A1E406E6589}" type="pres">
      <dgm:prSet presAssocID="{44DC67E7-DAA5-4D57-8939-358ADD453DAC}" presName="node" presStyleLbl="node1" presStyleIdx="2" presStyleCnt="7">
        <dgm:presLayoutVars>
          <dgm:bulletEnabled val="1"/>
        </dgm:presLayoutVars>
      </dgm:prSet>
      <dgm:spPr/>
    </dgm:pt>
    <dgm:pt modelId="{ED6450BE-F83F-4573-8C25-F8D06D6C140A}" type="pres">
      <dgm:prSet presAssocID="{23196375-7C67-42FA-8B13-7183FF2A0A50}" presName="sibTrans" presStyleCnt="0"/>
      <dgm:spPr/>
    </dgm:pt>
    <dgm:pt modelId="{64426AF3-0622-4BCA-85EC-E71EE280EDA3}" type="pres">
      <dgm:prSet presAssocID="{D0788A4F-DC8B-4192-AB02-8EAC4790AC2E}" presName="node" presStyleLbl="node1" presStyleIdx="3" presStyleCnt="7">
        <dgm:presLayoutVars>
          <dgm:bulletEnabled val="1"/>
        </dgm:presLayoutVars>
      </dgm:prSet>
      <dgm:spPr/>
    </dgm:pt>
    <dgm:pt modelId="{C464C52E-27A2-467C-8380-1D457FAE2924}" type="pres">
      <dgm:prSet presAssocID="{1AB7DF0D-F273-43DD-97D0-E51CDB7F95BF}" presName="sibTrans" presStyleCnt="0"/>
      <dgm:spPr/>
    </dgm:pt>
    <dgm:pt modelId="{7E60F42A-67EB-466C-B689-C1B6241DDD1E}" type="pres">
      <dgm:prSet presAssocID="{65A6740C-F83D-4F8A-908C-3A8C3A2BEBD2}" presName="node" presStyleLbl="node1" presStyleIdx="4" presStyleCnt="7">
        <dgm:presLayoutVars>
          <dgm:bulletEnabled val="1"/>
        </dgm:presLayoutVars>
      </dgm:prSet>
      <dgm:spPr/>
    </dgm:pt>
    <dgm:pt modelId="{6EEC8EF9-17FA-44E2-9166-62161DD5154F}" type="pres">
      <dgm:prSet presAssocID="{9FB5729B-876B-4D1F-9C17-2B0DDEC2CD6D}" presName="sibTrans" presStyleCnt="0"/>
      <dgm:spPr/>
    </dgm:pt>
    <dgm:pt modelId="{E0EC4003-FCA3-45F0-9176-A7A1A076E77F}" type="pres">
      <dgm:prSet presAssocID="{1CC0E5E7-BDB5-491A-AAA1-58C9B43773C5}" presName="node" presStyleLbl="node1" presStyleIdx="5" presStyleCnt="7">
        <dgm:presLayoutVars>
          <dgm:bulletEnabled val="1"/>
        </dgm:presLayoutVars>
      </dgm:prSet>
      <dgm:spPr/>
    </dgm:pt>
    <dgm:pt modelId="{709A2912-C2D2-4066-AF64-4A9AE69B9BEC}" type="pres">
      <dgm:prSet presAssocID="{65AA31A7-01C5-4A43-BC9D-CF6FE8B8D472}" presName="sibTrans" presStyleCnt="0"/>
      <dgm:spPr/>
    </dgm:pt>
    <dgm:pt modelId="{58D601B5-D0C4-4F07-9C4C-59723F702BC1}" type="pres">
      <dgm:prSet presAssocID="{B28D658F-DA5D-43D3-A94B-A58220A08635}" presName="node" presStyleLbl="node1" presStyleIdx="6" presStyleCnt="7">
        <dgm:presLayoutVars>
          <dgm:bulletEnabled val="1"/>
        </dgm:presLayoutVars>
      </dgm:prSet>
      <dgm:spPr/>
    </dgm:pt>
  </dgm:ptLst>
  <dgm:cxnLst>
    <dgm:cxn modelId="{6B191700-3D4E-4520-836A-0A6095958E33}" srcId="{88A04E13-0B78-46AE-B97F-EEB191A28AF6}" destId="{1CC0E5E7-BDB5-491A-AAA1-58C9B43773C5}" srcOrd="5" destOrd="0" parTransId="{9087AF01-3F80-479D-ADA7-E56E93C13EEB}" sibTransId="{65AA31A7-01C5-4A43-BC9D-CF6FE8B8D472}"/>
    <dgm:cxn modelId="{D011C000-A38A-483D-86F4-FBFC6C37C06E}" type="presOf" srcId="{D7E1BFC6-89AC-473E-8CD1-909E984BE040}" destId="{07C206BA-72E3-4D0C-8357-5240DABE95E5}" srcOrd="0" destOrd="0" presId="urn:microsoft.com/office/officeart/2005/8/layout/default"/>
    <dgm:cxn modelId="{939FB904-057D-47F1-BB24-3D2CAE10655F}" srcId="{88A04E13-0B78-46AE-B97F-EEB191A28AF6}" destId="{2889EC50-DC02-4E9A-9B77-8D58D912C5D8}" srcOrd="0" destOrd="0" parTransId="{6D39AD4C-CE68-4608-95CA-64EEFC28D026}" sibTransId="{D97B9861-326B-47DF-861F-F51AB8EC0C74}"/>
    <dgm:cxn modelId="{F724EA11-2DB1-4675-8829-80C339833BFC}" srcId="{88A04E13-0B78-46AE-B97F-EEB191A28AF6}" destId="{B28D658F-DA5D-43D3-A94B-A58220A08635}" srcOrd="6" destOrd="0" parTransId="{F901B85E-DE72-40B3-8561-04D38E582C8D}" sibTransId="{205A4F33-4910-40B8-9489-1035A8A9A358}"/>
    <dgm:cxn modelId="{5D5FE631-401D-443C-B905-4628BA804C74}" type="presOf" srcId="{44DC67E7-DAA5-4D57-8939-358ADD453DAC}" destId="{161464D0-A3EA-4005-920A-6A1E406E6589}" srcOrd="0" destOrd="0" presId="urn:microsoft.com/office/officeart/2005/8/layout/default"/>
    <dgm:cxn modelId="{DD9B5340-C284-4A5B-904F-18A19AC268A7}" type="presOf" srcId="{B28D658F-DA5D-43D3-A94B-A58220A08635}" destId="{58D601B5-D0C4-4F07-9C4C-59723F702BC1}" srcOrd="0" destOrd="0" presId="urn:microsoft.com/office/officeart/2005/8/layout/default"/>
    <dgm:cxn modelId="{FDECBC53-50DA-400D-B3A1-C7087A0B888A}" type="presOf" srcId="{65A6740C-F83D-4F8A-908C-3A8C3A2BEBD2}" destId="{7E60F42A-67EB-466C-B689-C1B6241DDD1E}" srcOrd="0" destOrd="0" presId="urn:microsoft.com/office/officeart/2005/8/layout/default"/>
    <dgm:cxn modelId="{3CF7C382-7D27-4C29-BCE2-DFB64960D81A}" srcId="{88A04E13-0B78-46AE-B97F-EEB191A28AF6}" destId="{D7E1BFC6-89AC-473E-8CD1-909E984BE040}" srcOrd="1" destOrd="0" parTransId="{A88026B4-F836-4E5F-8A43-71FFCCCF971C}" sibTransId="{DAEC072F-296D-482F-A066-66D470BB91BE}"/>
    <dgm:cxn modelId="{84008A8E-F65B-4586-8A38-590E89E51AF9}" type="presOf" srcId="{88A04E13-0B78-46AE-B97F-EEB191A28AF6}" destId="{5B2A2E00-6084-4B64-A0AF-F3DF01689880}" srcOrd="0" destOrd="0" presId="urn:microsoft.com/office/officeart/2005/8/layout/default"/>
    <dgm:cxn modelId="{5773E092-A24E-4E31-9BCE-5F94A20DEF24}" srcId="{88A04E13-0B78-46AE-B97F-EEB191A28AF6}" destId="{65A6740C-F83D-4F8A-908C-3A8C3A2BEBD2}" srcOrd="4" destOrd="0" parTransId="{7643426C-01CC-4870-95F8-3ECF6AE403C5}" sibTransId="{9FB5729B-876B-4D1F-9C17-2B0DDEC2CD6D}"/>
    <dgm:cxn modelId="{E0571BAA-A901-4493-8735-F78A40711458}" srcId="{88A04E13-0B78-46AE-B97F-EEB191A28AF6}" destId="{44DC67E7-DAA5-4D57-8939-358ADD453DAC}" srcOrd="2" destOrd="0" parTransId="{F419A4D1-5C95-462F-96A3-1D6C703637E5}" sibTransId="{23196375-7C67-42FA-8B13-7183FF2A0A50}"/>
    <dgm:cxn modelId="{8E36ABB9-1B62-4709-90B5-244EE54F55C8}" type="presOf" srcId="{1CC0E5E7-BDB5-491A-AAA1-58C9B43773C5}" destId="{E0EC4003-FCA3-45F0-9176-A7A1A076E77F}" srcOrd="0" destOrd="0" presId="urn:microsoft.com/office/officeart/2005/8/layout/default"/>
    <dgm:cxn modelId="{D11660EC-D480-4AE5-A5C8-0AF07054C647}" type="presOf" srcId="{2889EC50-DC02-4E9A-9B77-8D58D912C5D8}" destId="{7BD6E389-31B2-4CDF-83E8-2A9ED357023B}" srcOrd="0" destOrd="0" presId="urn:microsoft.com/office/officeart/2005/8/layout/default"/>
    <dgm:cxn modelId="{878DC3ED-6FBC-487C-A3D7-6A1C21708C9A}" srcId="{88A04E13-0B78-46AE-B97F-EEB191A28AF6}" destId="{D0788A4F-DC8B-4192-AB02-8EAC4790AC2E}" srcOrd="3" destOrd="0" parTransId="{D08C19D9-E3E4-4BBD-97C0-F8AB86185946}" sibTransId="{1AB7DF0D-F273-43DD-97D0-E51CDB7F95BF}"/>
    <dgm:cxn modelId="{BBBB6FF2-D272-4E6E-96AB-8B3339476F8D}" type="presOf" srcId="{D0788A4F-DC8B-4192-AB02-8EAC4790AC2E}" destId="{64426AF3-0622-4BCA-85EC-E71EE280EDA3}" srcOrd="0" destOrd="0" presId="urn:microsoft.com/office/officeart/2005/8/layout/default"/>
    <dgm:cxn modelId="{25A4AE50-148A-4995-95A9-03F1F6363988}" type="presParOf" srcId="{5B2A2E00-6084-4B64-A0AF-F3DF01689880}" destId="{7BD6E389-31B2-4CDF-83E8-2A9ED357023B}" srcOrd="0" destOrd="0" presId="urn:microsoft.com/office/officeart/2005/8/layout/default"/>
    <dgm:cxn modelId="{41376846-CE75-41D7-BDC5-C7F0195DDF4D}" type="presParOf" srcId="{5B2A2E00-6084-4B64-A0AF-F3DF01689880}" destId="{C6B6514F-EA66-49EB-AF95-69974F04FF0A}" srcOrd="1" destOrd="0" presId="urn:microsoft.com/office/officeart/2005/8/layout/default"/>
    <dgm:cxn modelId="{2DBA7967-7561-4285-955D-04FEE03C25F1}" type="presParOf" srcId="{5B2A2E00-6084-4B64-A0AF-F3DF01689880}" destId="{07C206BA-72E3-4D0C-8357-5240DABE95E5}" srcOrd="2" destOrd="0" presId="urn:microsoft.com/office/officeart/2005/8/layout/default"/>
    <dgm:cxn modelId="{BB78D4E7-BD03-4FCE-B68E-11E813A368B6}" type="presParOf" srcId="{5B2A2E00-6084-4B64-A0AF-F3DF01689880}" destId="{2B0B6582-347F-4E3D-98B9-013C765E858C}" srcOrd="3" destOrd="0" presId="urn:microsoft.com/office/officeart/2005/8/layout/default"/>
    <dgm:cxn modelId="{57114D10-2D28-4A96-85E6-0546DB859968}" type="presParOf" srcId="{5B2A2E00-6084-4B64-A0AF-F3DF01689880}" destId="{161464D0-A3EA-4005-920A-6A1E406E6589}" srcOrd="4" destOrd="0" presId="urn:microsoft.com/office/officeart/2005/8/layout/default"/>
    <dgm:cxn modelId="{242FB656-DDBA-4352-9614-DEAF7AADFBD8}" type="presParOf" srcId="{5B2A2E00-6084-4B64-A0AF-F3DF01689880}" destId="{ED6450BE-F83F-4573-8C25-F8D06D6C140A}" srcOrd="5" destOrd="0" presId="urn:microsoft.com/office/officeart/2005/8/layout/default"/>
    <dgm:cxn modelId="{A0A18643-BD83-46F7-ACF1-763A4C0B2B9C}" type="presParOf" srcId="{5B2A2E00-6084-4B64-A0AF-F3DF01689880}" destId="{64426AF3-0622-4BCA-85EC-E71EE280EDA3}" srcOrd="6" destOrd="0" presId="urn:microsoft.com/office/officeart/2005/8/layout/default"/>
    <dgm:cxn modelId="{70A8E2DE-3A84-486D-9BA2-42B46F880247}" type="presParOf" srcId="{5B2A2E00-6084-4B64-A0AF-F3DF01689880}" destId="{C464C52E-27A2-467C-8380-1D457FAE2924}" srcOrd="7" destOrd="0" presId="urn:microsoft.com/office/officeart/2005/8/layout/default"/>
    <dgm:cxn modelId="{8B225573-F811-40CD-AF32-1E548482C3F8}" type="presParOf" srcId="{5B2A2E00-6084-4B64-A0AF-F3DF01689880}" destId="{7E60F42A-67EB-466C-B689-C1B6241DDD1E}" srcOrd="8" destOrd="0" presId="urn:microsoft.com/office/officeart/2005/8/layout/default"/>
    <dgm:cxn modelId="{88A8154A-EAD4-48AB-93AD-39DCC62507E5}" type="presParOf" srcId="{5B2A2E00-6084-4B64-A0AF-F3DF01689880}" destId="{6EEC8EF9-17FA-44E2-9166-62161DD5154F}" srcOrd="9" destOrd="0" presId="urn:microsoft.com/office/officeart/2005/8/layout/default"/>
    <dgm:cxn modelId="{88B4B132-C6B5-4964-BC87-B0BCD3160F30}" type="presParOf" srcId="{5B2A2E00-6084-4B64-A0AF-F3DF01689880}" destId="{E0EC4003-FCA3-45F0-9176-A7A1A076E77F}" srcOrd="10" destOrd="0" presId="urn:microsoft.com/office/officeart/2005/8/layout/default"/>
    <dgm:cxn modelId="{109048F3-00F7-4396-86BF-13562A195522}" type="presParOf" srcId="{5B2A2E00-6084-4B64-A0AF-F3DF01689880}" destId="{709A2912-C2D2-4066-AF64-4A9AE69B9BEC}" srcOrd="11" destOrd="0" presId="urn:microsoft.com/office/officeart/2005/8/layout/default"/>
    <dgm:cxn modelId="{57B9336D-D981-4773-BF83-9A85C9F2289C}" type="presParOf" srcId="{5B2A2E00-6084-4B64-A0AF-F3DF01689880}" destId="{58D601B5-D0C4-4F07-9C4C-59723F702BC1}"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B4F884A-6BAD-40F8-8D89-4D045FEFA144}" type="doc">
      <dgm:prSet loTypeId="urn:diagrams.loki3.com/BracketList" loCatId="list" qsTypeId="urn:microsoft.com/office/officeart/2005/8/quickstyle/simple4" qsCatId="simple" csTypeId="urn:microsoft.com/office/officeart/2005/8/colors/accent1_2" csCatId="accent1"/>
      <dgm:spPr/>
      <dgm:t>
        <a:bodyPr/>
        <a:lstStyle/>
        <a:p>
          <a:endParaRPr lang="en-IN"/>
        </a:p>
      </dgm:t>
    </dgm:pt>
    <dgm:pt modelId="{C2826542-D66B-4A2C-AFC5-D6A223A7D4BD}">
      <dgm:prSet custT="1"/>
      <dgm:spPr/>
      <dgm:t>
        <a:bodyPr/>
        <a:lstStyle/>
        <a:p>
          <a:r>
            <a:rPr lang="en-IN" sz="2400"/>
            <a:t>Infrastructure as code</a:t>
          </a:r>
        </a:p>
      </dgm:t>
    </dgm:pt>
    <dgm:pt modelId="{2CE3DEC2-8964-4CEC-8DD4-78AE7264BCB7}" type="parTrans" cxnId="{0659E5F0-56BA-45A5-AF05-749CDD1AD8AF}">
      <dgm:prSet/>
      <dgm:spPr/>
      <dgm:t>
        <a:bodyPr/>
        <a:lstStyle/>
        <a:p>
          <a:endParaRPr lang="en-IN" sz="1400"/>
        </a:p>
      </dgm:t>
    </dgm:pt>
    <dgm:pt modelId="{B5768919-DD53-4F3C-9DF9-40D0D7574BF1}" type="sibTrans" cxnId="{0659E5F0-56BA-45A5-AF05-749CDD1AD8AF}">
      <dgm:prSet/>
      <dgm:spPr/>
      <dgm:t>
        <a:bodyPr/>
        <a:lstStyle/>
        <a:p>
          <a:endParaRPr lang="en-IN" sz="1400"/>
        </a:p>
      </dgm:t>
    </dgm:pt>
    <dgm:pt modelId="{D011E726-75C2-4BD4-9E22-E9F119C5C8D4}">
      <dgm:prSet custT="1"/>
      <dgm:spPr/>
      <dgm:t>
        <a:bodyPr/>
        <a:lstStyle/>
        <a:p>
          <a:r>
            <a:rPr lang="en-IN" sz="2400"/>
            <a:t>The practice of using code to provision and configure infrastructure. </a:t>
          </a:r>
        </a:p>
      </dgm:t>
    </dgm:pt>
    <dgm:pt modelId="{0CEA8E36-B8D4-4BD2-8CB8-6A2D481246BC}" type="parTrans" cxnId="{CADEC1C1-C22E-4BD6-BA1B-ABFF69FB8279}">
      <dgm:prSet/>
      <dgm:spPr/>
      <dgm:t>
        <a:bodyPr/>
        <a:lstStyle/>
        <a:p>
          <a:endParaRPr lang="en-IN" sz="1400"/>
        </a:p>
      </dgm:t>
    </dgm:pt>
    <dgm:pt modelId="{E7F4CC22-C334-4098-A2EE-E4CB84F08B1C}" type="sibTrans" cxnId="{CADEC1C1-C22E-4BD6-BA1B-ABFF69FB8279}">
      <dgm:prSet/>
      <dgm:spPr/>
      <dgm:t>
        <a:bodyPr/>
        <a:lstStyle/>
        <a:p>
          <a:endParaRPr lang="en-IN" sz="1400"/>
        </a:p>
      </dgm:t>
    </dgm:pt>
    <dgm:pt modelId="{B751A375-F28A-465B-8CEF-14B00F70D849}">
      <dgm:prSet custT="1"/>
      <dgm:spPr/>
      <dgm:t>
        <a:bodyPr/>
        <a:lstStyle/>
        <a:p>
          <a:r>
            <a:rPr lang="en-IN" sz="2400"/>
            <a:t>Declarative approach or Imperative approach (or a combination of both)</a:t>
          </a:r>
        </a:p>
      </dgm:t>
    </dgm:pt>
    <dgm:pt modelId="{A05B62E7-0F3F-4BE8-82FB-49200565E1BB}" type="parTrans" cxnId="{5967C0F6-2BFB-4E4C-81F0-7A45F847DA63}">
      <dgm:prSet/>
      <dgm:spPr/>
      <dgm:t>
        <a:bodyPr/>
        <a:lstStyle/>
        <a:p>
          <a:endParaRPr lang="en-IN" sz="1400"/>
        </a:p>
      </dgm:t>
    </dgm:pt>
    <dgm:pt modelId="{46AA10DF-6473-469E-B99A-E2EC764AB69E}" type="sibTrans" cxnId="{5967C0F6-2BFB-4E4C-81F0-7A45F847DA63}">
      <dgm:prSet/>
      <dgm:spPr/>
      <dgm:t>
        <a:bodyPr/>
        <a:lstStyle/>
        <a:p>
          <a:endParaRPr lang="en-IN" sz="1400"/>
        </a:p>
      </dgm:t>
    </dgm:pt>
    <dgm:pt modelId="{8CC33FE9-638B-449E-80CB-7B5ED3017EE4}">
      <dgm:prSet custT="1"/>
      <dgm:spPr/>
      <dgm:t>
        <a:bodyPr/>
        <a:lstStyle/>
        <a:p>
          <a:r>
            <a:rPr lang="en-IN" sz="2400"/>
            <a:t>Immutable infrastructure</a:t>
          </a:r>
        </a:p>
      </dgm:t>
    </dgm:pt>
    <dgm:pt modelId="{99524898-B00D-4363-BD16-DE052121CC1D}" type="parTrans" cxnId="{CD57C4F6-CD95-49CB-95A9-39C42F04AC85}">
      <dgm:prSet/>
      <dgm:spPr/>
      <dgm:t>
        <a:bodyPr/>
        <a:lstStyle/>
        <a:p>
          <a:endParaRPr lang="en-IN" sz="1400"/>
        </a:p>
      </dgm:t>
    </dgm:pt>
    <dgm:pt modelId="{D5A19CA1-F6BB-4B96-A036-2B2B8FCDED16}" type="sibTrans" cxnId="{CD57C4F6-CD95-49CB-95A9-39C42F04AC85}">
      <dgm:prSet/>
      <dgm:spPr/>
      <dgm:t>
        <a:bodyPr/>
        <a:lstStyle/>
        <a:p>
          <a:endParaRPr lang="en-IN" sz="1400"/>
        </a:p>
      </dgm:t>
    </dgm:pt>
    <dgm:pt modelId="{D70F3821-5962-48B5-B85D-21419E40A913}">
      <dgm:prSet custT="1"/>
      <dgm:spPr/>
      <dgm:t>
        <a:bodyPr/>
        <a:lstStyle/>
        <a:p>
          <a:r>
            <a:rPr lang="en-IN" sz="2400"/>
            <a:t>The principle that you shouldn’t modify infrastructure after it’s deployed to production</a:t>
          </a:r>
        </a:p>
      </dgm:t>
    </dgm:pt>
    <dgm:pt modelId="{C5770E4C-D06F-4FF7-B6D3-1706D3A100E5}" type="parTrans" cxnId="{CFA3AB4C-ACE5-4936-B57C-20CE815473C9}">
      <dgm:prSet/>
      <dgm:spPr/>
      <dgm:t>
        <a:bodyPr/>
        <a:lstStyle/>
        <a:p>
          <a:endParaRPr lang="en-IN" sz="1400"/>
        </a:p>
      </dgm:t>
    </dgm:pt>
    <dgm:pt modelId="{FD49EE12-3D09-4FC2-A504-C4B99A7B109F}" type="sibTrans" cxnId="{CFA3AB4C-ACE5-4936-B57C-20CE815473C9}">
      <dgm:prSet/>
      <dgm:spPr/>
      <dgm:t>
        <a:bodyPr/>
        <a:lstStyle/>
        <a:p>
          <a:endParaRPr lang="en-IN" sz="1400"/>
        </a:p>
      </dgm:t>
    </dgm:pt>
    <dgm:pt modelId="{FBD8FD11-77F0-4B89-AC59-06B542C3CA07}">
      <dgm:prSet custT="1"/>
      <dgm:spPr/>
      <dgm:t>
        <a:bodyPr/>
        <a:lstStyle/>
        <a:p>
          <a:r>
            <a:rPr lang="en-IN" sz="2400"/>
            <a:t>When ad hoc changes have been applied, it’s hard to know exactly what changed, and hard to reason about the system</a:t>
          </a:r>
        </a:p>
      </dgm:t>
    </dgm:pt>
    <dgm:pt modelId="{D626AB98-E473-490F-AB7C-35CD67CAB7CF}" type="parTrans" cxnId="{C47DC14E-E1EF-42D2-9D9D-517525017F6C}">
      <dgm:prSet/>
      <dgm:spPr/>
      <dgm:t>
        <a:bodyPr/>
        <a:lstStyle/>
        <a:p>
          <a:endParaRPr lang="en-IN" sz="1400"/>
        </a:p>
      </dgm:t>
    </dgm:pt>
    <dgm:pt modelId="{DAB618E6-F98A-49F6-924D-E54C694E3BCC}" type="sibTrans" cxnId="{C47DC14E-E1EF-42D2-9D9D-517525017F6C}">
      <dgm:prSet/>
      <dgm:spPr/>
      <dgm:t>
        <a:bodyPr/>
        <a:lstStyle/>
        <a:p>
          <a:endParaRPr lang="en-IN" sz="1400"/>
        </a:p>
      </dgm:t>
    </dgm:pt>
    <dgm:pt modelId="{0A46ABEC-2B7B-4300-9FD0-491E1392F849}" type="pres">
      <dgm:prSet presAssocID="{8B4F884A-6BAD-40F8-8D89-4D045FEFA144}" presName="Name0" presStyleCnt="0">
        <dgm:presLayoutVars>
          <dgm:dir/>
          <dgm:animLvl val="lvl"/>
          <dgm:resizeHandles val="exact"/>
        </dgm:presLayoutVars>
      </dgm:prSet>
      <dgm:spPr/>
    </dgm:pt>
    <dgm:pt modelId="{C8A434EC-5987-4F48-865A-40F06DCF3E7B}" type="pres">
      <dgm:prSet presAssocID="{C2826542-D66B-4A2C-AFC5-D6A223A7D4BD}" presName="linNode" presStyleCnt="0"/>
      <dgm:spPr/>
    </dgm:pt>
    <dgm:pt modelId="{37F9BB68-0121-42B1-8810-CB309912FABF}" type="pres">
      <dgm:prSet presAssocID="{C2826542-D66B-4A2C-AFC5-D6A223A7D4BD}" presName="parTx" presStyleLbl="revTx" presStyleIdx="0" presStyleCnt="2">
        <dgm:presLayoutVars>
          <dgm:chMax val="1"/>
          <dgm:bulletEnabled val="1"/>
        </dgm:presLayoutVars>
      </dgm:prSet>
      <dgm:spPr/>
    </dgm:pt>
    <dgm:pt modelId="{73F28233-2B17-439D-9797-8558B2E50C7B}" type="pres">
      <dgm:prSet presAssocID="{C2826542-D66B-4A2C-AFC5-D6A223A7D4BD}" presName="bracket" presStyleLbl="parChTrans1D1" presStyleIdx="0" presStyleCnt="2"/>
      <dgm:spPr/>
    </dgm:pt>
    <dgm:pt modelId="{F014C4C4-3DFF-4549-842B-EFBE38FF7568}" type="pres">
      <dgm:prSet presAssocID="{C2826542-D66B-4A2C-AFC5-D6A223A7D4BD}" presName="spH" presStyleCnt="0"/>
      <dgm:spPr/>
    </dgm:pt>
    <dgm:pt modelId="{4E269F82-05FB-4C2E-BFD1-17608A4FD02B}" type="pres">
      <dgm:prSet presAssocID="{C2826542-D66B-4A2C-AFC5-D6A223A7D4BD}" presName="desTx" presStyleLbl="node1" presStyleIdx="0" presStyleCnt="2">
        <dgm:presLayoutVars>
          <dgm:bulletEnabled val="1"/>
        </dgm:presLayoutVars>
      </dgm:prSet>
      <dgm:spPr/>
    </dgm:pt>
    <dgm:pt modelId="{0C771D67-8F7E-4151-9708-21BAE1AF0C44}" type="pres">
      <dgm:prSet presAssocID="{B5768919-DD53-4F3C-9DF9-40D0D7574BF1}" presName="spV" presStyleCnt="0"/>
      <dgm:spPr/>
    </dgm:pt>
    <dgm:pt modelId="{41DC3426-1EE5-4D48-AFAF-1B7EBC2BEE96}" type="pres">
      <dgm:prSet presAssocID="{8CC33FE9-638B-449E-80CB-7B5ED3017EE4}" presName="linNode" presStyleCnt="0"/>
      <dgm:spPr/>
    </dgm:pt>
    <dgm:pt modelId="{6066F863-8A46-4A18-9491-74666FD4BF77}" type="pres">
      <dgm:prSet presAssocID="{8CC33FE9-638B-449E-80CB-7B5ED3017EE4}" presName="parTx" presStyleLbl="revTx" presStyleIdx="1" presStyleCnt="2">
        <dgm:presLayoutVars>
          <dgm:chMax val="1"/>
          <dgm:bulletEnabled val="1"/>
        </dgm:presLayoutVars>
      </dgm:prSet>
      <dgm:spPr/>
    </dgm:pt>
    <dgm:pt modelId="{D29BF819-5F75-4037-BF79-A209FF91B863}" type="pres">
      <dgm:prSet presAssocID="{8CC33FE9-638B-449E-80CB-7B5ED3017EE4}" presName="bracket" presStyleLbl="parChTrans1D1" presStyleIdx="1" presStyleCnt="2"/>
      <dgm:spPr/>
    </dgm:pt>
    <dgm:pt modelId="{C801ED4D-4F64-4387-A193-7A77EE786BA9}" type="pres">
      <dgm:prSet presAssocID="{8CC33FE9-638B-449E-80CB-7B5ED3017EE4}" presName="spH" presStyleCnt="0"/>
      <dgm:spPr/>
    </dgm:pt>
    <dgm:pt modelId="{F7FD63E4-5B0A-401F-B773-892761FCC472}" type="pres">
      <dgm:prSet presAssocID="{8CC33FE9-638B-449E-80CB-7B5ED3017EE4}" presName="desTx" presStyleLbl="node1" presStyleIdx="1" presStyleCnt="2">
        <dgm:presLayoutVars>
          <dgm:bulletEnabled val="1"/>
        </dgm:presLayoutVars>
      </dgm:prSet>
      <dgm:spPr/>
    </dgm:pt>
  </dgm:ptLst>
  <dgm:cxnLst>
    <dgm:cxn modelId="{FC802712-EEB7-4CAD-97CD-D9817DCDB057}" type="presOf" srcId="{D011E726-75C2-4BD4-9E22-E9F119C5C8D4}" destId="{4E269F82-05FB-4C2E-BFD1-17608A4FD02B}" srcOrd="0" destOrd="0" presId="urn:diagrams.loki3.com/BracketList"/>
    <dgm:cxn modelId="{7ED34A44-F474-422B-95E5-A4D018855DC6}" type="presOf" srcId="{8B4F884A-6BAD-40F8-8D89-4D045FEFA144}" destId="{0A46ABEC-2B7B-4300-9FD0-491E1392F849}" srcOrd="0" destOrd="0" presId="urn:diagrams.loki3.com/BracketList"/>
    <dgm:cxn modelId="{CFA3AB4C-ACE5-4936-B57C-20CE815473C9}" srcId="{8CC33FE9-638B-449E-80CB-7B5ED3017EE4}" destId="{D70F3821-5962-48B5-B85D-21419E40A913}" srcOrd="0" destOrd="0" parTransId="{C5770E4C-D06F-4FF7-B6D3-1706D3A100E5}" sibTransId="{FD49EE12-3D09-4FC2-A504-C4B99A7B109F}"/>
    <dgm:cxn modelId="{C47DC14E-E1EF-42D2-9D9D-517525017F6C}" srcId="{8CC33FE9-638B-449E-80CB-7B5ED3017EE4}" destId="{FBD8FD11-77F0-4B89-AC59-06B542C3CA07}" srcOrd="1" destOrd="0" parTransId="{D626AB98-E473-490F-AB7C-35CD67CAB7CF}" sibTransId="{DAB618E6-F98A-49F6-924D-E54C694E3BCC}"/>
    <dgm:cxn modelId="{C1AE6A81-2B0B-48AF-B63F-538E421DFC88}" type="presOf" srcId="{8CC33FE9-638B-449E-80CB-7B5ED3017EE4}" destId="{6066F863-8A46-4A18-9491-74666FD4BF77}" srcOrd="0" destOrd="0" presId="urn:diagrams.loki3.com/BracketList"/>
    <dgm:cxn modelId="{35B4BC90-EAAF-4E58-B211-13912F0A83D2}" type="presOf" srcId="{D70F3821-5962-48B5-B85D-21419E40A913}" destId="{F7FD63E4-5B0A-401F-B773-892761FCC472}" srcOrd="0" destOrd="0" presId="urn:diagrams.loki3.com/BracketList"/>
    <dgm:cxn modelId="{CADEC1C1-C22E-4BD6-BA1B-ABFF69FB8279}" srcId="{C2826542-D66B-4A2C-AFC5-D6A223A7D4BD}" destId="{D011E726-75C2-4BD4-9E22-E9F119C5C8D4}" srcOrd="0" destOrd="0" parTransId="{0CEA8E36-B8D4-4BD2-8CB8-6A2D481246BC}" sibTransId="{E7F4CC22-C334-4098-A2EE-E4CB84F08B1C}"/>
    <dgm:cxn modelId="{016387CF-AEC9-40E6-8D9B-03D96125135B}" type="presOf" srcId="{FBD8FD11-77F0-4B89-AC59-06B542C3CA07}" destId="{F7FD63E4-5B0A-401F-B773-892761FCC472}" srcOrd="0" destOrd="1" presId="urn:diagrams.loki3.com/BracketList"/>
    <dgm:cxn modelId="{9929CCDA-52A3-4995-86B8-6F642D55E3C1}" type="presOf" srcId="{B751A375-F28A-465B-8CEF-14B00F70D849}" destId="{4E269F82-05FB-4C2E-BFD1-17608A4FD02B}" srcOrd="0" destOrd="1" presId="urn:diagrams.loki3.com/BracketList"/>
    <dgm:cxn modelId="{0659E5F0-56BA-45A5-AF05-749CDD1AD8AF}" srcId="{8B4F884A-6BAD-40F8-8D89-4D045FEFA144}" destId="{C2826542-D66B-4A2C-AFC5-D6A223A7D4BD}" srcOrd="0" destOrd="0" parTransId="{2CE3DEC2-8964-4CEC-8DD4-78AE7264BCB7}" sibTransId="{B5768919-DD53-4F3C-9DF9-40D0D7574BF1}"/>
    <dgm:cxn modelId="{5967C0F6-2BFB-4E4C-81F0-7A45F847DA63}" srcId="{C2826542-D66B-4A2C-AFC5-D6A223A7D4BD}" destId="{B751A375-F28A-465B-8CEF-14B00F70D849}" srcOrd="1" destOrd="0" parTransId="{A05B62E7-0F3F-4BE8-82FB-49200565E1BB}" sibTransId="{46AA10DF-6473-469E-B99A-E2EC764AB69E}"/>
    <dgm:cxn modelId="{CD57C4F6-CD95-49CB-95A9-39C42F04AC85}" srcId="{8B4F884A-6BAD-40F8-8D89-4D045FEFA144}" destId="{8CC33FE9-638B-449E-80CB-7B5ED3017EE4}" srcOrd="1" destOrd="0" parTransId="{99524898-B00D-4363-BD16-DE052121CC1D}" sibTransId="{D5A19CA1-F6BB-4B96-A036-2B2B8FCDED16}"/>
    <dgm:cxn modelId="{A5813AFE-39F3-4FE7-99CF-D992F2F5E8B4}" type="presOf" srcId="{C2826542-D66B-4A2C-AFC5-D6A223A7D4BD}" destId="{37F9BB68-0121-42B1-8810-CB309912FABF}" srcOrd="0" destOrd="0" presId="urn:diagrams.loki3.com/BracketList"/>
    <dgm:cxn modelId="{6ACCFD1A-8673-4427-ADE7-786D298CC92F}" type="presParOf" srcId="{0A46ABEC-2B7B-4300-9FD0-491E1392F849}" destId="{C8A434EC-5987-4F48-865A-40F06DCF3E7B}" srcOrd="0" destOrd="0" presId="urn:diagrams.loki3.com/BracketList"/>
    <dgm:cxn modelId="{3CB728A0-979E-4F4D-AF8F-8D26FBB9764B}" type="presParOf" srcId="{C8A434EC-5987-4F48-865A-40F06DCF3E7B}" destId="{37F9BB68-0121-42B1-8810-CB309912FABF}" srcOrd="0" destOrd="0" presId="urn:diagrams.loki3.com/BracketList"/>
    <dgm:cxn modelId="{6163B2C9-86CA-49CB-8A4C-9EA0D13A21B4}" type="presParOf" srcId="{C8A434EC-5987-4F48-865A-40F06DCF3E7B}" destId="{73F28233-2B17-439D-9797-8558B2E50C7B}" srcOrd="1" destOrd="0" presId="urn:diagrams.loki3.com/BracketList"/>
    <dgm:cxn modelId="{A7A7BA29-8EC3-4CCB-8A4D-ECDB62C110FE}" type="presParOf" srcId="{C8A434EC-5987-4F48-865A-40F06DCF3E7B}" destId="{F014C4C4-3DFF-4549-842B-EFBE38FF7568}" srcOrd="2" destOrd="0" presId="urn:diagrams.loki3.com/BracketList"/>
    <dgm:cxn modelId="{E5B9EA50-4245-40C9-8516-F918A06379D0}" type="presParOf" srcId="{C8A434EC-5987-4F48-865A-40F06DCF3E7B}" destId="{4E269F82-05FB-4C2E-BFD1-17608A4FD02B}" srcOrd="3" destOrd="0" presId="urn:diagrams.loki3.com/BracketList"/>
    <dgm:cxn modelId="{B1B61FF6-C6AC-4B63-8E09-8E7A2EDDC0F8}" type="presParOf" srcId="{0A46ABEC-2B7B-4300-9FD0-491E1392F849}" destId="{0C771D67-8F7E-4151-9708-21BAE1AF0C44}" srcOrd="1" destOrd="0" presId="urn:diagrams.loki3.com/BracketList"/>
    <dgm:cxn modelId="{30F4AC1C-1A2C-4538-93D7-81DD276A05BB}" type="presParOf" srcId="{0A46ABEC-2B7B-4300-9FD0-491E1392F849}" destId="{41DC3426-1EE5-4D48-AFAF-1B7EBC2BEE96}" srcOrd="2" destOrd="0" presId="urn:diagrams.loki3.com/BracketList"/>
    <dgm:cxn modelId="{B9DDD575-9613-45B5-ACDB-70C111526CAA}" type="presParOf" srcId="{41DC3426-1EE5-4D48-AFAF-1B7EBC2BEE96}" destId="{6066F863-8A46-4A18-9491-74666FD4BF77}" srcOrd="0" destOrd="0" presId="urn:diagrams.loki3.com/BracketList"/>
    <dgm:cxn modelId="{256390BE-7B1C-428A-9CF7-D0628744CE7D}" type="presParOf" srcId="{41DC3426-1EE5-4D48-AFAF-1B7EBC2BEE96}" destId="{D29BF819-5F75-4037-BF79-A209FF91B863}" srcOrd="1" destOrd="0" presId="urn:diagrams.loki3.com/BracketList"/>
    <dgm:cxn modelId="{1B38350E-15A9-4605-A992-767CAE1186C9}" type="presParOf" srcId="{41DC3426-1EE5-4D48-AFAF-1B7EBC2BEE96}" destId="{C801ED4D-4F64-4387-A193-7A77EE786BA9}" srcOrd="2" destOrd="0" presId="urn:diagrams.loki3.com/BracketList"/>
    <dgm:cxn modelId="{70320037-67EF-4311-B020-F4F57A66B739}" type="presParOf" srcId="{41DC3426-1EE5-4D48-AFAF-1B7EBC2BEE96}" destId="{F7FD63E4-5B0A-401F-B773-892761FCC472}"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3A7B01A-08F2-4C05-BBF9-7F637A48B28C}" type="doc">
      <dgm:prSet loTypeId="urn:diagrams.loki3.com/BracketList" loCatId="list" qsTypeId="urn:microsoft.com/office/officeart/2005/8/quickstyle/simple4" qsCatId="simple" csTypeId="urn:microsoft.com/office/officeart/2005/8/colors/accent1_2" csCatId="accent1"/>
      <dgm:spPr/>
      <dgm:t>
        <a:bodyPr/>
        <a:lstStyle/>
        <a:p>
          <a:endParaRPr lang="en-IN"/>
        </a:p>
      </dgm:t>
    </dgm:pt>
    <dgm:pt modelId="{0AB6EA72-5F22-4B04-9776-6F2E315A8E46}">
      <dgm:prSet custT="1"/>
      <dgm:spPr/>
      <dgm:t>
        <a:bodyPr/>
        <a:lstStyle/>
        <a:p>
          <a:r>
            <a:rPr lang="en-IN" sz="2400"/>
            <a:t>Blue-green deployment</a:t>
          </a:r>
        </a:p>
      </dgm:t>
    </dgm:pt>
    <dgm:pt modelId="{19263DCA-ACAE-43C5-8712-F08E3B510D6D}" type="parTrans" cxnId="{6922EF8C-9B10-41D1-92AB-680D1C57C308}">
      <dgm:prSet/>
      <dgm:spPr/>
      <dgm:t>
        <a:bodyPr/>
        <a:lstStyle/>
        <a:p>
          <a:endParaRPr lang="en-IN" sz="1600"/>
        </a:p>
      </dgm:t>
    </dgm:pt>
    <dgm:pt modelId="{056C1865-35AF-4FD8-BA1D-64865482B692}" type="sibTrans" cxnId="{6922EF8C-9B10-41D1-92AB-680D1C57C308}">
      <dgm:prSet/>
      <dgm:spPr/>
      <dgm:t>
        <a:bodyPr/>
        <a:lstStyle/>
        <a:p>
          <a:endParaRPr lang="en-IN" sz="1600"/>
        </a:p>
      </dgm:t>
    </dgm:pt>
    <dgm:pt modelId="{32B2DFA9-529D-4778-AC9A-E241A15DB4C4}">
      <dgm:prSet custT="1"/>
      <dgm:spPr/>
      <dgm:t>
        <a:bodyPr/>
        <a:lstStyle/>
        <a:p>
          <a:r>
            <a:rPr lang="en-IN" sz="2400"/>
            <a:t>A technique whereby an update is deployed into a production environment separately from the live application</a:t>
          </a:r>
        </a:p>
      </dgm:t>
    </dgm:pt>
    <dgm:pt modelId="{83C48BC1-3F93-4765-9B54-5074A88991D4}" type="parTrans" cxnId="{202EC1FD-1AFB-40B2-A934-F69E252E44F6}">
      <dgm:prSet/>
      <dgm:spPr/>
      <dgm:t>
        <a:bodyPr/>
        <a:lstStyle/>
        <a:p>
          <a:endParaRPr lang="en-IN" sz="1600"/>
        </a:p>
      </dgm:t>
    </dgm:pt>
    <dgm:pt modelId="{20693121-A4A8-4272-AF9E-6D645FB790D3}" type="sibTrans" cxnId="{202EC1FD-1AFB-40B2-A934-F69E252E44F6}">
      <dgm:prSet/>
      <dgm:spPr/>
      <dgm:t>
        <a:bodyPr/>
        <a:lstStyle/>
        <a:p>
          <a:endParaRPr lang="en-IN" sz="1600"/>
        </a:p>
      </dgm:t>
    </dgm:pt>
    <dgm:pt modelId="{9E7BB381-E0AE-4154-B480-4D7A56C4D5D9}">
      <dgm:prSet custT="1"/>
      <dgm:spPr/>
      <dgm:t>
        <a:bodyPr/>
        <a:lstStyle/>
        <a:p>
          <a:r>
            <a:rPr lang="en-IN" sz="2400"/>
            <a:t>After validating the deployment, switch the traffic routing to the updated version</a:t>
          </a:r>
        </a:p>
      </dgm:t>
    </dgm:pt>
    <dgm:pt modelId="{B1267BBE-1E99-4AE9-AFDD-6637A1C473BE}" type="parTrans" cxnId="{DF081EFD-7EBC-4E10-B06B-81BFF8341F0B}">
      <dgm:prSet/>
      <dgm:spPr/>
      <dgm:t>
        <a:bodyPr/>
        <a:lstStyle/>
        <a:p>
          <a:endParaRPr lang="en-IN" sz="1600"/>
        </a:p>
      </dgm:t>
    </dgm:pt>
    <dgm:pt modelId="{0D7C8279-CA17-4A28-BCAA-4B70FC3ABF8A}" type="sibTrans" cxnId="{DF081EFD-7EBC-4E10-B06B-81BFF8341F0B}">
      <dgm:prSet/>
      <dgm:spPr/>
      <dgm:t>
        <a:bodyPr/>
        <a:lstStyle/>
        <a:p>
          <a:endParaRPr lang="en-IN" sz="1600"/>
        </a:p>
      </dgm:t>
    </dgm:pt>
    <dgm:pt modelId="{E3108148-6E69-4B24-8B32-737BC70548F2}">
      <dgm:prSet custT="1"/>
      <dgm:spPr/>
      <dgm:t>
        <a:bodyPr/>
        <a:lstStyle/>
        <a:p>
          <a:r>
            <a:rPr lang="en-IN" sz="2400"/>
            <a:t>Canary releases</a:t>
          </a:r>
        </a:p>
      </dgm:t>
    </dgm:pt>
    <dgm:pt modelId="{CA21D744-2598-4687-BF10-BBC1AD7248A6}" type="parTrans" cxnId="{4504B6DE-9F62-44C8-B2D8-6E41F1221057}">
      <dgm:prSet/>
      <dgm:spPr/>
      <dgm:t>
        <a:bodyPr/>
        <a:lstStyle/>
        <a:p>
          <a:endParaRPr lang="en-IN" sz="1600"/>
        </a:p>
      </dgm:t>
    </dgm:pt>
    <dgm:pt modelId="{5A166D5A-5C8B-4C80-925F-60A04FD13E23}" type="sibTrans" cxnId="{4504B6DE-9F62-44C8-B2D8-6E41F1221057}">
      <dgm:prSet/>
      <dgm:spPr/>
      <dgm:t>
        <a:bodyPr/>
        <a:lstStyle/>
        <a:p>
          <a:endParaRPr lang="en-IN" sz="1600"/>
        </a:p>
      </dgm:t>
    </dgm:pt>
    <dgm:pt modelId="{C7389C11-EF80-4D00-B65B-232C6B129102}">
      <dgm:prSet custT="1"/>
      <dgm:spPr/>
      <dgm:t>
        <a:bodyPr/>
        <a:lstStyle/>
        <a:p>
          <a:r>
            <a:rPr lang="en-IN" sz="2400"/>
            <a:t>The update is rolled out to a small percentage of users by routing a portion of the traffic to the new deployment</a:t>
          </a:r>
        </a:p>
      </dgm:t>
    </dgm:pt>
    <dgm:pt modelId="{AF978EDB-3A83-4107-8EC9-357021BC3DA0}" type="parTrans" cxnId="{ECE7615B-6CC4-43DD-91E1-1A2BEEF724B7}">
      <dgm:prSet/>
      <dgm:spPr/>
      <dgm:t>
        <a:bodyPr/>
        <a:lstStyle/>
        <a:p>
          <a:endParaRPr lang="en-IN" sz="1600"/>
        </a:p>
      </dgm:t>
    </dgm:pt>
    <dgm:pt modelId="{50ACEEBA-0FEA-4B1F-B965-A85E083C91A7}" type="sibTrans" cxnId="{ECE7615B-6CC4-43DD-91E1-1A2BEEF724B7}">
      <dgm:prSet/>
      <dgm:spPr/>
      <dgm:t>
        <a:bodyPr/>
        <a:lstStyle/>
        <a:p>
          <a:endParaRPr lang="en-IN" sz="1600"/>
        </a:p>
      </dgm:t>
    </dgm:pt>
    <dgm:pt modelId="{DD119092-FDAF-453A-966E-B8F1C955D278}">
      <dgm:prSet custT="1"/>
      <dgm:spPr/>
      <dgm:t>
        <a:bodyPr/>
        <a:lstStyle/>
        <a:p>
          <a:r>
            <a:rPr lang="en-IN" sz="2400"/>
            <a:t>If there’s a problem, back off and revert to the old deployment</a:t>
          </a:r>
        </a:p>
      </dgm:t>
    </dgm:pt>
    <dgm:pt modelId="{7739C63D-8C08-4704-8963-3AF71391FA7D}" type="parTrans" cxnId="{08CBD92E-38D4-4B4A-AC88-2AAC13666FC7}">
      <dgm:prSet/>
      <dgm:spPr/>
      <dgm:t>
        <a:bodyPr/>
        <a:lstStyle/>
        <a:p>
          <a:endParaRPr lang="en-IN" sz="1600"/>
        </a:p>
      </dgm:t>
    </dgm:pt>
    <dgm:pt modelId="{F5157A77-4870-4312-B92F-B229E71576C5}" type="sibTrans" cxnId="{08CBD92E-38D4-4B4A-AC88-2AAC13666FC7}">
      <dgm:prSet/>
      <dgm:spPr/>
      <dgm:t>
        <a:bodyPr/>
        <a:lstStyle/>
        <a:p>
          <a:endParaRPr lang="en-IN" sz="1600"/>
        </a:p>
      </dgm:t>
    </dgm:pt>
    <dgm:pt modelId="{585EC74A-A663-4CCC-9187-272AF6C6EACE}">
      <dgm:prSet custT="1"/>
      <dgm:spPr/>
      <dgm:t>
        <a:bodyPr/>
        <a:lstStyle/>
        <a:p>
          <a:r>
            <a:rPr lang="en-IN" sz="2400"/>
            <a:t>Else incrementally route more traffic to the new version until it’s handling 100 percent of the traffic</a:t>
          </a:r>
        </a:p>
      </dgm:t>
    </dgm:pt>
    <dgm:pt modelId="{08CF4FBA-BBB3-4590-B686-820F5E018DCA}" type="parTrans" cxnId="{B3DB1753-A856-46FD-B0A2-32C61092E678}">
      <dgm:prSet/>
      <dgm:spPr/>
      <dgm:t>
        <a:bodyPr/>
        <a:lstStyle/>
        <a:p>
          <a:endParaRPr lang="en-IN" sz="1600"/>
        </a:p>
      </dgm:t>
    </dgm:pt>
    <dgm:pt modelId="{D80D832C-DB68-41E5-A42D-AEA10B59B4A8}" type="sibTrans" cxnId="{B3DB1753-A856-46FD-B0A2-32C61092E678}">
      <dgm:prSet/>
      <dgm:spPr/>
      <dgm:t>
        <a:bodyPr/>
        <a:lstStyle/>
        <a:p>
          <a:endParaRPr lang="en-IN" sz="1600"/>
        </a:p>
      </dgm:t>
    </dgm:pt>
    <dgm:pt modelId="{CF0DA0C6-820C-42DB-835A-DD7B1295F39C}" type="pres">
      <dgm:prSet presAssocID="{73A7B01A-08F2-4C05-BBF9-7F637A48B28C}" presName="Name0" presStyleCnt="0">
        <dgm:presLayoutVars>
          <dgm:dir/>
          <dgm:animLvl val="lvl"/>
          <dgm:resizeHandles val="exact"/>
        </dgm:presLayoutVars>
      </dgm:prSet>
      <dgm:spPr/>
    </dgm:pt>
    <dgm:pt modelId="{84827C2E-F5A5-4417-8F9F-BE9E8DABBF98}" type="pres">
      <dgm:prSet presAssocID="{0AB6EA72-5F22-4B04-9776-6F2E315A8E46}" presName="linNode" presStyleCnt="0"/>
      <dgm:spPr/>
    </dgm:pt>
    <dgm:pt modelId="{A2E906E7-27F0-4537-A190-DF5AC848D5D8}" type="pres">
      <dgm:prSet presAssocID="{0AB6EA72-5F22-4B04-9776-6F2E315A8E46}" presName="parTx" presStyleLbl="revTx" presStyleIdx="0" presStyleCnt="2">
        <dgm:presLayoutVars>
          <dgm:chMax val="1"/>
          <dgm:bulletEnabled val="1"/>
        </dgm:presLayoutVars>
      </dgm:prSet>
      <dgm:spPr/>
    </dgm:pt>
    <dgm:pt modelId="{5E65DCEF-BCA3-437B-B49C-B2BDCEBB4D2E}" type="pres">
      <dgm:prSet presAssocID="{0AB6EA72-5F22-4B04-9776-6F2E315A8E46}" presName="bracket" presStyleLbl="parChTrans1D1" presStyleIdx="0" presStyleCnt="2"/>
      <dgm:spPr/>
    </dgm:pt>
    <dgm:pt modelId="{EE61A7D1-AD84-4AE5-B0B0-B70450A16392}" type="pres">
      <dgm:prSet presAssocID="{0AB6EA72-5F22-4B04-9776-6F2E315A8E46}" presName="spH" presStyleCnt="0"/>
      <dgm:spPr/>
    </dgm:pt>
    <dgm:pt modelId="{7591CB68-E9EB-4600-A96E-998CAA3E46E4}" type="pres">
      <dgm:prSet presAssocID="{0AB6EA72-5F22-4B04-9776-6F2E315A8E46}" presName="desTx" presStyleLbl="node1" presStyleIdx="0" presStyleCnt="2">
        <dgm:presLayoutVars>
          <dgm:bulletEnabled val="1"/>
        </dgm:presLayoutVars>
      </dgm:prSet>
      <dgm:spPr/>
    </dgm:pt>
    <dgm:pt modelId="{EBABE863-8BD5-48B4-8417-6A24C4921511}" type="pres">
      <dgm:prSet presAssocID="{056C1865-35AF-4FD8-BA1D-64865482B692}" presName="spV" presStyleCnt="0"/>
      <dgm:spPr/>
    </dgm:pt>
    <dgm:pt modelId="{33CF69E8-6543-47D3-BBB2-E48CA954EAAE}" type="pres">
      <dgm:prSet presAssocID="{E3108148-6E69-4B24-8B32-737BC70548F2}" presName="linNode" presStyleCnt="0"/>
      <dgm:spPr/>
    </dgm:pt>
    <dgm:pt modelId="{CA0C951F-4CC4-456D-9823-C1B7E23E8B33}" type="pres">
      <dgm:prSet presAssocID="{E3108148-6E69-4B24-8B32-737BC70548F2}" presName="parTx" presStyleLbl="revTx" presStyleIdx="1" presStyleCnt="2">
        <dgm:presLayoutVars>
          <dgm:chMax val="1"/>
          <dgm:bulletEnabled val="1"/>
        </dgm:presLayoutVars>
      </dgm:prSet>
      <dgm:spPr/>
    </dgm:pt>
    <dgm:pt modelId="{9B459E30-73F3-4DEE-830E-B444BC5F5E3B}" type="pres">
      <dgm:prSet presAssocID="{E3108148-6E69-4B24-8B32-737BC70548F2}" presName="bracket" presStyleLbl="parChTrans1D1" presStyleIdx="1" presStyleCnt="2"/>
      <dgm:spPr/>
    </dgm:pt>
    <dgm:pt modelId="{748F50F8-C5B7-4EED-8962-C87DEE773B76}" type="pres">
      <dgm:prSet presAssocID="{E3108148-6E69-4B24-8B32-737BC70548F2}" presName="spH" presStyleCnt="0"/>
      <dgm:spPr/>
    </dgm:pt>
    <dgm:pt modelId="{99767FB2-D252-4904-9076-9B43052359F8}" type="pres">
      <dgm:prSet presAssocID="{E3108148-6E69-4B24-8B32-737BC70548F2}" presName="desTx" presStyleLbl="node1" presStyleIdx="1" presStyleCnt="2">
        <dgm:presLayoutVars>
          <dgm:bulletEnabled val="1"/>
        </dgm:presLayoutVars>
      </dgm:prSet>
      <dgm:spPr/>
    </dgm:pt>
  </dgm:ptLst>
  <dgm:cxnLst>
    <dgm:cxn modelId="{4B610E1F-F0D2-4CD3-93E8-9FF9A7948507}" type="presOf" srcId="{0AB6EA72-5F22-4B04-9776-6F2E315A8E46}" destId="{A2E906E7-27F0-4537-A190-DF5AC848D5D8}" srcOrd="0" destOrd="0" presId="urn:diagrams.loki3.com/BracketList"/>
    <dgm:cxn modelId="{08CBD92E-38D4-4B4A-AC88-2AAC13666FC7}" srcId="{E3108148-6E69-4B24-8B32-737BC70548F2}" destId="{DD119092-FDAF-453A-966E-B8F1C955D278}" srcOrd="1" destOrd="0" parTransId="{7739C63D-8C08-4704-8963-3AF71391FA7D}" sibTransId="{F5157A77-4870-4312-B92F-B229E71576C5}"/>
    <dgm:cxn modelId="{1508E230-267F-4DB9-A7DE-E57E76AD4F44}" type="presOf" srcId="{E3108148-6E69-4B24-8B32-737BC70548F2}" destId="{CA0C951F-4CC4-456D-9823-C1B7E23E8B33}" srcOrd="0" destOrd="0" presId="urn:diagrams.loki3.com/BracketList"/>
    <dgm:cxn modelId="{DB4D8934-0495-4040-B30B-999BB0DD55A1}" type="presOf" srcId="{585EC74A-A663-4CCC-9187-272AF6C6EACE}" destId="{99767FB2-D252-4904-9076-9B43052359F8}" srcOrd="0" destOrd="2" presId="urn:diagrams.loki3.com/BracketList"/>
    <dgm:cxn modelId="{ECE7615B-6CC4-43DD-91E1-1A2BEEF724B7}" srcId="{E3108148-6E69-4B24-8B32-737BC70548F2}" destId="{C7389C11-EF80-4D00-B65B-232C6B129102}" srcOrd="0" destOrd="0" parTransId="{AF978EDB-3A83-4107-8EC9-357021BC3DA0}" sibTransId="{50ACEEBA-0FEA-4B1F-B965-A85E083C91A7}"/>
    <dgm:cxn modelId="{F6FC9C5C-63A9-4DF0-BAD3-653581826089}" type="presOf" srcId="{C7389C11-EF80-4D00-B65B-232C6B129102}" destId="{99767FB2-D252-4904-9076-9B43052359F8}" srcOrd="0" destOrd="0" presId="urn:diagrams.loki3.com/BracketList"/>
    <dgm:cxn modelId="{953B9D4E-438E-4144-BA3F-B4EDFA910006}" type="presOf" srcId="{32B2DFA9-529D-4778-AC9A-E241A15DB4C4}" destId="{7591CB68-E9EB-4600-A96E-998CAA3E46E4}" srcOrd="0" destOrd="0" presId="urn:diagrams.loki3.com/BracketList"/>
    <dgm:cxn modelId="{B3DB1753-A856-46FD-B0A2-32C61092E678}" srcId="{E3108148-6E69-4B24-8B32-737BC70548F2}" destId="{585EC74A-A663-4CCC-9187-272AF6C6EACE}" srcOrd="2" destOrd="0" parTransId="{08CF4FBA-BBB3-4590-B686-820F5E018DCA}" sibTransId="{D80D832C-DB68-41E5-A42D-AEA10B59B4A8}"/>
    <dgm:cxn modelId="{6922EF8C-9B10-41D1-92AB-680D1C57C308}" srcId="{73A7B01A-08F2-4C05-BBF9-7F637A48B28C}" destId="{0AB6EA72-5F22-4B04-9776-6F2E315A8E46}" srcOrd="0" destOrd="0" parTransId="{19263DCA-ACAE-43C5-8712-F08E3B510D6D}" sibTransId="{056C1865-35AF-4FD8-BA1D-64865482B692}"/>
    <dgm:cxn modelId="{98671CA6-D9DC-40D4-AEDF-CF179D5FBD0E}" type="presOf" srcId="{DD119092-FDAF-453A-966E-B8F1C955D278}" destId="{99767FB2-D252-4904-9076-9B43052359F8}" srcOrd="0" destOrd="1" presId="urn:diagrams.loki3.com/BracketList"/>
    <dgm:cxn modelId="{E4EBC2D3-18DD-48BE-A503-66F5495C697C}" type="presOf" srcId="{9E7BB381-E0AE-4154-B480-4D7A56C4D5D9}" destId="{7591CB68-E9EB-4600-A96E-998CAA3E46E4}" srcOrd="0" destOrd="1" presId="urn:diagrams.loki3.com/BracketList"/>
    <dgm:cxn modelId="{4504B6DE-9F62-44C8-B2D8-6E41F1221057}" srcId="{73A7B01A-08F2-4C05-BBF9-7F637A48B28C}" destId="{E3108148-6E69-4B24-8B32-737BC70548F2}" srcOrd="1" destOrd="0" parTransId="{CA21D744-2598-4687-BF10-BBC1AD7248A6}" sibTransId="{5A166D5A-5C8B-4C80-925F-60A04FD13E23}"/>
    <dgm:cxn modelId="{5B27C3DE-B01A-42D8-B7FB-F3EC9AF65BC0}" type="presOf" srcId="{73A7B01A-08F2-4C05-BBF9-7F637A48B28C}" destId="{CF0DA0C6-820C-42DB-835A-DD7B1295F39C}" srcOrd="0" destOrd="0" presId="urn:diagrams.loki3.com/BracketList"/>
    <dgm:cxn modelId="{DF081EFD-7EBC-4E10-B06B-81BFF8341F0B}" srcId="{0AB6EA72-5F22-4B04-9776-6F2E315A8E46}" destId="{9E7BB381-E0AE-4154-B480-4D7A56C4D5D9}" srcOrd="1" destOrd="0" parTransId="{B1267BBE-1E99-4AE9-AFDD-6637A1C473BE}" sibTransId="{0D7C8279-CA17-4A28-BCAA-4B70FC3ABF8A}"/>
    <dgm:cxn modelId="{202EC1FD-1AFB-40B2-A934-F69E252E44F6}" srcId="{0AB6EA72-5F22-4B04-9776-6F2E315A8E46}" destId="{32B2DFA9-529D-4778-AC9A-E241A15DB4C4}" srcOrd="0" destOrd="0" parTransId="{83C48BC1-3F93-4765-9B54-5074A88991D4}" sibTransId="{20693121-A4A8-4272-AF9E-6D645FB790D3}"/>
    <dgm:cxn modelId="{61071487-AEE7-49FF-A5E7-19E833E8629A}" type="presParOf" srcId="{CF0DA0C6-820C-42DB-835A-DD7B1295F39C}" destId="{84827C2E-F5A5-4417-8F9F-BE9E8DABBF98}" srcOrd="0" destOrd="0" presId="urn:diagrams.loki3.com/BracketList"/>
    <dgm:cxn modelId="{5860F228-AEB0-4CD2-913F-1E4E635643A3}" type="presParOf" srcId="{84827C2E-F5A5-4417-8F9F-BE9E8DABBF98}" destId="{A2E906E7-27F0-4537-A190-DF5AC848D5D8}" srcOrd="0" destOrd="0" presId="urn:diagrams.loki3.com/BracketList"/>
    <dgm:cxn modelId="{8748BDFB-F43E-4F56-822D-EC3EA7B512C5}" type="presParOf" srcId="{84827C2E-F5A5-4417-8F9F-BE9E8DABBF98}" destId="{5E65DCEF-BCA3-437B-B49C-B2BDCEBB4D2E}" srcOrd="1" destOrd="0" presId="urn:diagrams.loki3.com/BracketList"/>
    <dgm:cxn modelId="{82ACB70F-B6DF-4648-A743-42F2DC11B940}" type="presParOf" srcId="{84827C2E-F5A5-4417-8F9F-BE9E8DABBF98}" destId="{EE61A7D1-AD84-4AE5-B0B0-B70450A16392}" srcOrd="2" destOrd="0" presId="urn:diagrams.loki3.com/BracketList"/>
    <dgm:cxn modelId="{3ED893DA-9323-4224-8E9B-F30B4E06744D}" type="presParOf" srcId="{84827C2E-F5A5-4417-8F9F-BE9E8DABBF98}" destId="{7591CB68-E9EB-4600-A96E-998CAA3E46E4}" srcOrd="3" destOrd="0" presId="urn:diagrams.loki3.com/BracketList"/>
    <dgm:cxn modelId="{F423AC34-E11A-421E-9EC0-FB630E24FA58}" type="presParOf" srcId="{CF0DA0C6-820C-42DB-835A-DD7B1295F39C}" destId="{EBABE863-8BD5-48B4-8417-6A24C4921511}" srcOrd="1" destOrd="0" presId="urn:diagrams.loki3.com/BracketList"/>
    <dgm:cxn modelId="{751843B4-4563-458B-B151-68CD51EF3EBC}" type="presParOf" srcId="{CF0DA0C6-820C-42DB-835A-DD7B1295F39C}" destId="{33CF69E8-6543-47D3-BBB2-E48CA954EAAE}" srcOrd="2" destOrd="0" presId="urn:diagrams.loki3.com/BracketList"/>
    <dgm:cxn modelId="{168492C2-E400-4E8E-B590-4F01BAEC9DB0}" type="presParOf" srcId="{33CF69E8-6543-47D3-BBB2-E48CA954EAAE}" destId="{CA0C951F-4CC4-456D-9823-C1B7E23E8B33}" srcOrd="0" destOrd="0" presId="urn:diagrams.loki3.com/BracketList"/>
    <dgm:cxn modelId="{CC4CC6D8-D088-4F66-97BE-26021E371E41}" type="presParOf" srcId="{33CF69E8-6543-47D3-BBB2-E48CA954EAAE}" destId="{9B459E30-73F3-4DEE-830E-B444BC5F5E3B}" srcOrd="1" destOrd="0" presId="urn:diagrams.loki3.com/BracketList"/>
    <dgm:cxn modelId="{999987D0-D7A9-4C13-89BE-7834528FE9C5}" type="presParOf" srcId="{33CF69E8-6543-47D3-BBB2-E48CA954EAAE}" destId="{748F50F8-C5B7-4EED-8962-C87DEE773B76}" srcOrd="2" destOrd="0" presId="urn:diagrams.loki3.com/BracketList"/>
    <dgm:cxn modelId="{9F1A286E-1DE3-4133-A29D-F9B2E5AAD4D1}" type="presParOf" srcId="{33CF69E8-6543-47D3-BBB2-E48CA954EAAE}" destId="{99767FB2-D252-4904-9076-9B43052359F8}"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05269-BA25-4B2D-AA15-9AA248ABE307}">
      <dsp:nvSpPr>
        <dsp:cNvPr id="0" name=""/>
        <dsp:cNvSpPr/>
      </dsp:nvSpPr>
      <dsp:spPr>
        <a:xfrm>
          <a:off x="-6282699" y="-961781"/>
          <a:ext cx="7483922" cy="7483922"/>
        </a:xfrm>
        <a:prstGeom prst="blockArc">
          <a:avLst>
            <a:gd name="adj1" fmla="val 18900000"/>
            <a:gd name="adj2" fmla="val 2700000"/>
            <a:gd name="adj3" fmla="val 289"/>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C4C6D6B-4950-48D5-BDE3-E5874FB380C9}">
      <dsp:nvSpPr>
        <dsp:cNvPr id="0" name=""/>
        <dsp:cNvSpPr/>
      </dsp:nvSpPr>
      <dsp:spPr>
        <a:xfrm>
          <a:off x="390059" y="252773"/>
          <a:ext cx="10711710" cy="505325"/>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1102" tIns="60960" rIns="60960" bIns="60960" numCol="1" spcCol="1270" anchor="ctr" anchorCtr="0">
          <a:noAutofit/>
        </a:bodyPr>
        <a:lstStyle/>
        <a:p>
          <a:pPr marL="0" lvl="0" indent="0" algn="l" defTabSz="1066800">
            <a:lnSpc>
              <a:spcPct val="90000"/>
            </a:lnSpc>
            <a:spcBef>
              <a:spcPct val="0"/>
            </a:spcBef>
            <a:spcAft>
              <a:spcPct val="35000"/>
            </a:spcAft>
            <a:buNone/>
          </a:pPr>
          <a:r>
            <a:rPr lang="en-IN" sz="2400" kern="1200"/>
            <a:t>What is resilience?</a:t>
          </a:r>
        </a:p>
      </dsp:txBody>
      <dsp:txXfrm>
        <a:off x="390059" y="252773"/>
        <a:ext cx="10711710" cy="505325"/>
      </dsp:txXfrm>
    </dsp:sp>
    <dsp:sp modelId="{1DB66F02-57AA-4747-9384-7B0FEE797276}">
      <dsp:nvSpPr>
        <dsp:cNvPr id="0" name=""/>
        <dsp:cNvSpPr/>
      </dsp:nvSpPr>
      <dsp:spPr>
        <a:xfrm>
          <a:off x="74230" y="189608"/>
          <a:ext cx="631656" cy="63165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78A485B-02A2-4CC0-821C-9D13531FC916}">
      <dsp:nvSpPr>
        <dsp:cNvPr id="0" name=""/>
        <dsp:cNvSpPr/>
      </dsp:nvSpPr>
      <dsp:spPr>
        <a:xfrm>
          <a:off x="847676" y="1011206"/>
          <a:ext cx="10254092" cy="505325"/>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1102" tIns="60960" rIns="60960" bIns="60960" numCol="1" spcCol="1270" anchor="ctr" anchorCtr="0">
          <a:noAutofit/>
        </a:bodyPr>
        <a:lstStyle/>
        <a:p>
          <a:pPr marL="0" lvl="0" indent="0" algn="l" defTabSz="1066800">
            <a:lnSpc>
              <a:spcPct val="90000"/>
            </a:lnSpc>
            <a:spcBef>
              <a:spcPct val="0"/>
            </a:spcBef>
            <a:spcAft>
              <a:spcPct val="35000"/>
            </a:spcAft>
            <a:buNone/>
          </a:pPr>
          <a:r>
            <a:rPr lang="en-IN" sz="2400" kern="1200" dirty="0"/>
            <a:t>Defining your resilience requirements</a:t>
          </a:r>
        </a:p>
      </dsp:txBody>
      <dsp:txXfrm>
        <a:off x="847676" y="1011206"/>
        <a:ext cx="10254092" cy="505325"/>
      </dsp:txXfrm>
    </dsp:sp>
    <dsp:sp modelId="{AEA79138-BCBF-433A-9507-F186268905B9}">
      <dsp:nvSpPr>
        <dsp:cNvPr id="0" name=""/>
        <dsp:cNvSpPr/>
      </dsp:nvSpPr>
      <dsp:spPr>
        <a:xfrm>
          <a:off x="531848" y="948041"/>
          <a:ext cx="631656" cy="63165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16BC9D8A-2ED1-4061-973B-900698721321}">
      <dsp:nvSpPr>
        <dsp:cNvPr id="0" name=""/>
        <dsp:cNvSpPr/>
      </dsp:nvSpPr>
      <dsp:spPr>
        <a:xfrm>
          <a:off x="1098448" y="1769083"/>
          <a:ext cx="10003320" cy="505325"/>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1102" tIns="60960" rIns="60960" bIns="60960" numCol="1" spcCol="1270" anchor="ctr" anchorCtr="0">
          <a:noAutofit/>
        </a:bodyPr>
        <a:lstStyle/>
        <a:p>
          <a:pPr marL="0" lvl="0" indent="0" algn="l" defTabSz="1066800">
            <a:lnSpc>
              <a:spcPct val="90000"/>
            </a:lnSpc>
            <a:spcBef>
              <a:spcPct val="0"/>
            </a:spcBef>
            <a:spcAft>
              <a:spcPct val="35000"/>
            </a:spcAft>
            <a:buNone/>
          </a:pPr>
          <a:r>
            <a:rPr lang="en-IN" sz="2400" kern="1200"/>
            <a:t>Designing for resilience</a:t>
          </a:r>
        </a:p>
      </dsp:txBody>
      <dsp:txXfrm>
        <a:off x="1098448" y="1769083"/>
        <a:ext cx="10003320" cy="505325"/>
      </dsp:txXfrm>
    </dsp:sp>
    <dsp:sp modelId="{58DA49A1-74C0-469D-B7C1-33BC419EFBF0}">
      <dsp:nvSpPr>
        <dsp:cNvPr id="0" name=""/>
        <dsp:cNvSpPr/>
      </dsp:nvSpPr>
      <dsp:spPr>
        <a:xfrm>
          <a:off x="782620" y="1705918"/>
          <a:ext cx="631656" cy="63165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313F2344-D951-4864-BBE7-D26919306840}">
      <dsp:nvSpPr>
        <dsp:cNvPr id="0" name=""/>
        <dsp:cNvSpPr/>
      </dsp:nvSpPr>
      <dsp:spPr>
        <a:xfrm>
          <a:off x="1178518" y="2527516"/>
          <a:ext cx="9923251" cy="505325"/>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1102" tIns="60960" rIns="60960" bIns="60960" numCol="1" spcCol="1270" anchor="ctr" anchorCtr="0">
          <a:noAutofit/>
        </a:bodyPr>
        <a:lstStyle/>
        <a:p>
          <a:pPr marL="0" lvl="0" indent="0" algn="l" defTabSz="1066800">
            <a:lnSpc>
              <a:spcPct val="90000"/>
            </a:lnSpc>
            <a:spcBef>
              <a:spcPct val="0"/>
            </a:spcBef>
            <a:spcAft>
              <a:spcPct val="35000"/>
            </a:spcAft>
            <a:buNone/>
          </a:pPr>
          <a:r>
            <a:rPr lang="en-IN" sz="2400" kern="1200" dirty="0"/>
            <a:t>Resilience strategies</a:t>
          </a:r>
        </a:p>
      </dsp:txBody>
      <dsp:txXfrm>
        <a:off x="1178518" y="2527516"/>
        <a:ext cx="9923251" cy="505325"/>
      </dsp:txXfrm>
    </dsp:sp>
    <dsp:sp modelId="{6D92BF18-A7D0-4A5B-9BFC-E13B5C4821D8}">
      <dsp:nvSpPr>
        <dsp:cNvPr id="0" name=""/>
        <dsp:cNvSpPr/>
      </dsp:nvSpPr>
      <dsp:spPr>
        <a:xfrm>
          <a:off x="862689" y="2464351"/>
          <a:ext cx="631656" cy="63165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D708D2E4-5853-488D-BAA9-4BF68639AAFC}">
      <dsp:nvSpPr>
        <dsp:cNvPr id="0" name=""/>
        <dsp:cNvSpPr/>
      </dsp:nvSpPr>
      <dsp:spPr>
        <a:xfrm>
          <a:off x="1098448" y="3285949"/>
          <a:ext cx="10003320" cy="505325"/>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1102" tIns="60960" rIns="60960" bIns="60960" numCol="1" spcCol="1270" anchor="ctr" anchorCtr="0">
          <a:noAutofit/>
        </a:bodyPr>
        <a:lstStyle/>
        <a:p>
          <a:pPr marL="0" lvl="0" indent="0" algn="l" defTabSz="1066800">
            <a:lnSpc>
              <a:spcPct val="90000"/>
            </a:lnSpc>
            <a:spcBef>
              <a:spcPct val="0"/>
            </a:spcBef>
            <a:spcAft>
              <a:spcPct val="35000"/>
            </a:spcAft>
            <a:buNone/>
          </a:pPr>
          <a:r>
            <a:rPr lang="en-IN" sz="2400" kern="1200" dirty="0"/>
            <a:t>Resilience for performance and scaling</a:t>
          </a:r>
        </a:p>
      </dsp:txBody>
      <dsp:txXfrm>
        <a:off x="1098448" y="3285949"/>
        <a:ext cx="10003320" cy="505325"/>
      </dsp:txXfrm>
    </dsp:sp>
    <dsp:sp modelId="{50A1FA9E-7351-4A2D-9724-47A51E151C38}">
      <dsp:nvSpPr>
        <dsp:cNvPr id="0" name=""/>
        <dsp:cNvSpPr/>
      </dsp:nvSpPr>
      <dsp:spPr>
        <a:xfrm>
          <a:off x="782620" y="3222784"/>
          <a:ext cx="631656" cy="63165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A78D0BE-5D22-48D2-A842-1C174874D45B}">
      <dsp:nvSpPr>
        <dsp:cNvPr id="0" name=""/>
        <dsp:cNvSpPr/>
      </dsp:nvSpPr>
      <dsp:spPr>
        <a:xfrm>
          <a:off x="847676" y="4043826"/>
          <a:ext cx="10254092" cy="505325"/>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1102" tIns="60960" rIns="60960" bIns="60960" numCol="1" spcCol="1270" anchor="ctr" anchorCtr="0">
          <a:noAutofit/>
        </a:bodyPr>
        <a:lstStyle/>
        <a:p>
          <a:pPr marL="0" lvl="0" indent="0" algn="l" defTabSz="1066800">
            <a:lnSpc>
              <a:spcPct val="90000"/>
            </a:lnSpc>
            <a:spcBef>
              <a:spcPct val="0"/>
            </a:spcBef>
            <a:spcAft>
              <a:spcPct val="35000"/>
            </a:spcAft>
            <a:buNone/>
          </a:pPr>
          <a:r>
            <a:rPr lang="en-IN" sz="2400" kern="1200" dirty="0"/>
            <a:t>Resilient deployment</a:t>
          </a:r>
        </a:p>
      </dsp:txBody>
      <dsp:txXfrm>
        <a:off x="847676" y="4043826"/>
        <a:ext cx="10254092" cy="505325"/>
      </dsp:txXfrm>
    </dsp:sp>
    <dsp:sp modelId="{743E73AB-0376-4271-A6A4-B8EDAB951377}">
      <dsp:nvSpPr>
        <dsp:cNvPr id="0" name=""/>
        <dsp:cNvSpPr/>
      </dsp:nvSpPr>
      <dsp:spPr>
        <a:xfrm>
          <a:off x="531848" y="3980661"/>
          <a:ext cx="631656" cy="63165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477B4BC-5D95-4EDB-B8D4-0B21218232C9}">
      <dsp:nvSpPr>
        <dsp:cNvPr id="0" name=""/>
        <dsp:cNvSpPr/>
      </dsp:nvSpPr>
      <dsp:spPr>
        <a:xfrm>
          <a:off x="390059" y="4802259"/>
          <a:ext cx="10711710" cy="505325"/>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1102" tIns="60960" rIns="60960" bIns="60960" numCol="1" spcCol="1270" anchor="ctr" anchorCtr="0">
          <a:noAutofit/>
        </a:bodyPr>
        <a:lstStyle/>
        <a:p>
          <a:pPr marL="0" lvl="0" indent="0" algn="l" defTabSz="1066800">
            <a:lnSpc>
              <a:spcPct val="90000"/>
            </a:lnSpc>
            <a:spcBef>
              <a:spcPct val="0"/>
            </a:spcBef>
            <a:spcAft>
              <a:spcPct val="35000"/>
            </a:spcAft>
            <a:buNone/>
          </a:pPr>
          <a:r>
            <a:rPr lang="en-IN" sz="2400" kern="1200" dirty="0"/>
            <a:t>Monitoring and diagnostics</a:t>
          </a:r>
        </a:p>
      </dsp:txBody>
      <dsp:txXfrm>
        <a:off x="390059" y="4802259"/>
        <a:ext cx="10711710" cy="505325"/>
      </dsp:txXfrm>
    </dsp:sp>
    <dsp:sp modelId="{FEDBD96E-D943-44ED-909B-75D2614F1D95}">
      <dsp:nvSpPr>
        <dsp:cNvPr id="0" name=""/>
        <dsp:cNvSpPr/>
      </dsp:nvSpPr>
      <dsp:spPr>
        <a:xfrm>
          <a:off x="74230" y="4739093"/>
          <a:ext cx="631656" cy="63165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FD5072-14A4-485B-9BDA-45936FE77C10}">
      <dsp:nvSpPr>
        <dsp:cNvPr id="0" name=""/>
        <dsp:cNvSpPr/>
      </dsp:nvSpPr>
      <dsp:spPr>
        <a:xfrm>
          <a:off x="3815475" y="684190"/>
          <a:ext cx="527299" cy="91440"/>
        </a:xfrm>
        <a:custGeom>
          <a:avLst/>
          <a:gdLst/>
          <a:ahLst/>
          <a:cxnLst/>
          <a:rect l="0" t="0" r="0" b="0"/>
          <a:pathLst>
            <a:path>
              <a:moveTo>
                <a:pt x="0" y="45720"/>
              </a:moveTo>
              <a:lnTo>
                <a:pt x="52729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4065177" y="727120"/>
        <a:ext cx="27894" cy="5578"/>
      </dsp:txXfrm>
    </dsp:sp>
    <dsp:sp modelId="{4DF4C5BC-E579-41C1-878B-0800E02C5298}">
      <dsp:nvSpPr>
        <dsp:cNvPr id="0" name=""/>
        <dsp:cNvSpPr/>
      </dsp:nvSpPr>
      <dsp:spPr>
        <a:xfrm>
          <a:off x="1391624" y="2215"/>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Define</a:t>
          </a:r>
        </a:p>
        <a:p>
          <a:pPr marL="0" lvl="0" indent="0" algn="ctr" defTabSz="666750">
            <a:lnSpc>
              <a:spcPct val="90000"/>
            </a:lnSpc>
            <a:spcBef>
              <a:spcPct val="0"/>
            </a:spcBef>
            <a:spcAft>
              <a:spcPct val="35000"/>
            </a:spcAft>
            <a:buNone/>
          </a:pPr>
          <a:r>
            <a:rPr lang="en-IN" sz="1500" kern="1200" dirty="0"/>
            <a:t>Resiliency Requirements based on business needs</a:t>
          </a:r>
        </a:p>
      </dsp:txBody>
      <dsp:txXfrm>
        <a:off x="1391624" y="2215"/>
        <a:ext cx="2425650" cy="1455390"/>
      </dsp:txXfrm>
    </dsp:sp>
    <dsp:sp modelId="{9E53C6C8-BFFA-46B0-A0C3-EBBE8FE42CD9}">
      <dsp:nvSpPr>
        <dsp:cNvPr id="0" name=""/>
        <dsp:cNvSpPr/>
      </dsp:nvSpPr>
      <dsp:spPr>
        <a:xfrm>
          <a:off x="6799025" y="684190"/>
          <a:ext cx="527299" cy="91440"/>
        </a:xfrm>
        <a:custGeom>
          <a:avLst/>
          <a:gdLst/>
          <a:ahLst/>
          <a:cxnLst/>
          <a:rect l="0" t="0" r="0" b="0"/>
          <a:pathLst>
            <a:path>
              <a:moveTo>
                <a:pt x="0" y="45720"/>
              </a:moveTo>
              <a:lnTo>
                <a:pt x="52729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7048727" y="727120"/>
        <a:ext cx="27894" cy="5578"/>
      </dsp:txXfrm>
    </dsp:sp>
    <dsp:sp modelId="{035232F2-7AC5-4D6E-BEB5-5A68CB53768C}">
      <dsp:nvSpPr>
        <dsp:cNvPr id="0" name=""/>
        <dsp:cNvSpPr/>
      </dsp:nvSpPr>
      <dsp:spPr>
        <a:xfrm>
          <a:off x="4375174" y="2215"/>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Design</a:t>
          </a:r>
        </a:p>
        <a:p>
          <a:pPr marL="0" lvl="0" indent="0" algn="ctr" defTabSz="666750">
            <a:lnSpc>
              <a:spcPct val="90000"/>
            </a:lnSpc>
            <a:spcBef>
              <a:spcPct val="0"/>
            </a:spcBef>
            <a:spcAft>
              <a:spcPct val="35000"/>
            </a:spcAft>
            <a:buNone/>
          </a:pPr>
          <a:r>
            <a:rPr lang="en-IN" sz="1500" kern="1200" dirty="0"/>
            <a:t>Design app for resilience, start with best practices and tried out patterns, evaluate and detect failure points </a:t>
          </a:r>
        </a:p>
      </dsp:txBody>
      <dsp:txXfrm>
        <a:off x="4375174" y="2215"/>
        <a:ext cx="2425650" cy="1455390"/>
      </dsp:txXfrm>
    </dsp:sp>
    <dsp:sp modelId="{14C35C6E-B02F-482C-B794-6AD2046A40DE}">
      <dsp:nvSpPr>
        <dsp:cNvPr id="0" name=""/>
        <dsp:cNvSpPr/>
      </dsp:nvSpPr>
      <dsp:spPr>
        <a:xfrm>
          <a:off x="2604450" y="1455805"/>
          <a:ext cx="5967099" cy="527299"/>
        </a:xfrm>
        <a:custGeom>
          <a:avLst/>
          <a:gdLst/>
          <a:ahLst/>
          <a:cxnLst/>
          <a:rect l="0" t="0" r="0" b="0"/>
          <a:pathLst>
            <a:path>
              <a:moveTo>
                <a:pt x="5967099" y="0"/>
              </a:moveTo>
              <a:lnTo>
                <a:pt x="5967099" y="280749"/>
              </a:lnTo>
              <a:lnTo>
                <a:pt x="0" y="280749"/>
              </a:lnTo>
              <a:lnTo>
                <a:pt x="0" y="527299"/>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5438171" y="1716665"/>
        <a:ext cx="299656" cy="5578"/>
      </dsp:txXfrm>
    </dsp:sp>
    <dsp:sp modelId="{78F1A9D3-BD86-48CC-8FC4-0FE9C74917A1}">
      <dsp:nvSpPr>
        <dsp:cNvPr id="0" name=""/>
        <dsp:cNvSpPr/>
      </dsp:nvSpPr>
      <dsp:spPr>
        <a:xfrm>
          <a:off x="7358724" y="2215"/>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Implement</a:t>
          </a:r>
        </a:p>
        <a:p>
          <a:pPr marL="0" lvl="0" indent="0" algn="ctr" defTabSz="666750">
            <a:lnSpc>
              <a:spcPct val="90000"/>
            </a:lnSpc>
            <a:spcBef>
              <a:spcPct val="0"/>
            </a:spcBef>
            <a:spcAft>
              <a:spcPct val="35000"/>
            </a:spcAft>
            <a:buNone/>
          </a:pPr>
          <a:r>
            <a:rPr lang="en-IN" sz="1500" kern="1200" dirty="0"/>
            <a:t>Strategy to detect and recover from failure</a:t>
          </a:r>
        </a:p>
      </dsp:txBody>
      <dsp:txXfrm>
        <a:off x="7358724" y="2215"/>
        <a:ext cx="2425650" cy="1455390"/>
      </dsp:txXfrm>
    </dsp:sp>
    <dsp:sp modelId="{D95E821F-47D4-413D-BC99-B403D82B7F43}">
      <dsp:nvSpPr>
        <dsp:cNvPr id="0" name=""/>
        <dsp:cNvSpPr/>
      </dsp:nvSpPr>
      <dsp:spPr>
        <a:xfrm>
          <a:off x="3815475" y="2697480"/>
          <a:ext cx="527299" cy="91440"/>
        </a:xfrm>
        <a:custGeom>
          <a:avLst/>
          <a:gdLst/>
          <a:ahLst/>
          <a:cxnLst/>
          <a:rect l="0" t="0" r="0" b="0"/>
          <a:pathLst>
            <a:path>
              <a:moveTo>
                <a:pt x="0" y="45720"/>
              </a:moveTo>
              <a:lnTo>
                <a:pt x="52729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4065177" y="2740410"/>
        <a:ext cx="27894" cy="5578"/>
      </dsp:txXfrm>
    </dsp:sp>
    <dsp:sp modelId="{48579603-9D1B-4EB4-BBAB-2A6E4BEFAD18}">
      <dsp:nvSpPr>
        <dsp:cNvPr id="0" name=""/>
        <dsp:cNvSpPr/>
      </dsp:nvSpPr>
      <dsp:spPr>
        <a:xfrm>
          <a:off x="1391624" y="2015504"/>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Test</a:t>
          </a:r>
        </a:p>
        <a:p>
          <a:pPr marL="0" lvl="0" indent="0" algn="ctr" defTabSz="666750">
            <a:lnSpc>
              <a:spcPct val="90000"/>
            </a:lnSpc>
            <a:spcBef>
              <a:spcPct val="0"/>
            </a:spcBef>
            <a:spcAft>
              <a:spcPct val="35000"/>
            </a:spcAft>
            <a:buNone/>
          </a:pPr>
          <a:r>
            <a:rPr lang="en-IN" sz="1500" kern="1200" dirty="0"/>
            <a:t>Simulate faults and trigger forced failovers</a:t>
          </a:r>
        </a:p>
      </dsp:txBody>
      <dsp:txXfrm>
        <a:off x="1391624" y="2015504"/>
        <a:ext cx="2425650" cy="1455390"/>
      </dsp:txXfrm>
    </dsp:sp>
    <dsp:sp modelId="{2DD6C479-A3B9-4D0B-BB86-266EAB8C29A8}">
      <dsp:nvSpPr>
        <dsp:cNvPr id="0" name=""/>
        <dsp:cNvSpPr/>
      </dsp:nvSpPr>
      <dsp:spPr>
        <a:xfrm>
          <a:off x="6799025" y="2697480"/>
          <a:ext cx="527299" cy="91440"/>
        </a:xfrm>
        <a:custGeom>
          <a:avLst/>
          <a:gdLst/>
          <a:ahLst/>
          <a:cxnLst/>
          <a:rect l="0" t="0" r="0" b="0"/>
          <a:pathLst>
            <a:path>
              <a:moveTo>
                <a:pt x="0" y="45720"/>
              </a:moveTo>
              <a:lnTo>
                <a:pt x="52729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7048727" y="2740410"/>
        <a:ext cx="27894" cy="5578"/>
      </dsp:txXfrm>
    </dsp:sp>
    <dsp:sp modelId="{03511CB3-BA07-44AA-BB6A-830B00640465}">
      <dsp:nvSpPr>
        <dsp:cNvPr id="0" name=""/>
        <dsp:cNvSpPr/>
      </dsp:nvSpPr>
      <dsp:spPr>
        <a:xfrm>
          <a:off x="4375174" y="2015504"/>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Deploy</a:t>
          </a:r>
        </a:p>
        <a:p>
          <a:pPr marL="0" lvl="0" indent="0" algn="ctr" defTabSz="666750">
            <a:lnSpc>
              <a:spcPct val="90000"/>
            </a:lnSpc>
            <a:spcBef>
              <a:spcPct val="0"/>
            </a:spcBef>
            <a:spcAft>
              <a:spcPct val="35000"/>
            </a:spcAft>
            <a:buNone/>
          </a:pPr>
          <a:r>
            <a:rPr lang="en-IN" sz="1500" kern="1200" dirty="0"/>
            <a:t>Build reliability in the deployment process</a:t>
          </a:r>
        </a:p>
      </dsp:txBody>
      <dsp:txXfrm>
        <a:off x="4375174" y="2015504"/>
        <a:ext cx="2425650" cy="1455390"/>
      </dsp:txXfrm>
    </dsp:sp>
    <dsp:sp modelId="{63B0F62D-C59C-400A-8783-58CC217F28E3}">
      <dsp:nvSpPr>
        <dsp:cNvPr id="0" name=""/>
        <dsp:cNvSpPr/>
      </dsp:nvSpPr>
      <dsp:spPr>
        <a:xfrm>
          <a:off x="2604450" y="3469095"/>
          <a:ext cx="5967099" cy="527299"/>
        </a:xfrm>
        <a:custGeom>
          <a:avLst/>
          <a:gdLst/>
          <a:ahLst/>
          <a:cxnLst/>
          <a:rect l="0" t="0" r="0" b="0"/>
          <a:pathLst>
            <a:path>
              <a:moveTo>
                <a:pt x="5967099" y="0"/>
              </a:moveTo>
              <a:lnTo>
                <a:pt x="5967099" y="280749"/>
              </a:lnTo>
              <a:lnTo>
                <a:pt x="0" y="280749"/>
              </a:lnTo>
              <a:lnTo>
                <a:pt x="0" y="527299"/>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5438171" y="3729955"/>
        <a:ext cx="299656" cy="5578"/>
      </dsp:txXfrm>
    </dsp:sp>
    <dsp:sp modelId="{FA38407E-801C-4DF0-AFCA-8317372C5AEE}">
      <dsp:nvSpPr>
        <dsp:cNvPr id="0" name=""/>
        <dsp:cNvSpPr/>
      </dsp:nvSpPr>
      <dsp:spPr>
        <a:xfrm>
          <a:off x="7358724" y="2015504"/>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Monitor</a:t>
          </a:r>
        </a:p>
        <a:p>
          <a:pPr marL="0" lvl="0" indent="0" algn="ctr" defTabSz="666750">
            <a:lnSpc>
              <a:spcPct val="90000"/>
            </a:lnSpc>
            <a:spcBef>
              <a:spcPct val="0"/>
            </a:spcBef>
            <a:spcAft>
              <a:spcPct val="35000"/>
            </a:spcAft>
            <a:buNone/>
          </a:pPr>
          <a:r>
            <a:rPr lang="en-IN" sz="1500" kern="1200" dirty="0"/>
            <a:t>Monitor for failure, gauge the health and respond to incidents</a:t>
          </a:r>
        </a:p>
      </dsp:txBody>
      <dsp:txXfrm>
        <a:off x="7358724" y="2015504"/>
        <a:ext cx="2425650" cy="1455390"/>
      </dsp:txXfrm>
    </dsp:sp>
    <dsp:sp modelId="{65D6A5B5-817E-483D-BAC2-CEF72D5949BE}">
      <dsp:nvSpPr>
        <dsp:cNvPr id="0" name=""/>
        <dsp:cNvSpPr/>
      </dsp:nvSpPr>
      <dsp:spPr>
        <a:xfrm>
          <a:off x="1391624" y="4028794"/>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Respond</a:t>
          </a:r>
        </a:p>
        <a:p>
          <a:pPr marL="0" lvl="0" indent="0" algn="ctr" defTabSz="666750">
            <a:lnSpc>
              <a:spcPct val="90000"/>
            </a:lnSpc>
            <a:spcBef>
              <a:spcPct val="0"/>
            </a:spcBef>
            <a:spcAft>
              <a:spcPct val="35000"/>
            </a:spcAft>
            <a:buNone/>
          </a:pPr>
          <a:r>
            <a:rPr lang="en-IN" sz="1500" kern="1200" dirty="0"/>
            <a:t>Incidents may require manual interventions</a:t>
          </a:r>
        </a:p>
      </dsp:txBody>
      <dsp:txXfrm>
        <a:off x="1391624" y="4028794"/>
        <a:ext cx="2425650" cy="14553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36885D-2758-475C-A93C-984174D11508}">
      <dsp:nvSpPr>
        <dsp:cNvPr id="0" name=""/>
        <dsp:cNvSpPr/>
      </dsp:nvSpPr>
      <dsp:spPr>
        <a:xfrm>
          <a:off x="0" y="440640"/>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1D622164-9990-484B-AACC-4D483CF929BF}">
      <dsp:nvSpPr>
        <dsp:cNvPr id="0" name=""/>
        <dsp:cNvSpPr/>
      </dsp:nvSpPr>
      <dsp:spPr>
        <a:xfrm>
          <a:off x="558800" y="86400"/>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dirty="0"/>
            <a:t>Recovery time objective (RTO) </a:t>
          </a:r>
          <a:endParaRPr lang="en-US" sz="2400" kern="1200" dirty="0"/>
        </a:p>
      </dsp:txBody>
      <dsp:txXfrm>
        <a:off x="593385" y="120985"/>
        <a:ext cx="7754030" cy="639310"/>
      </dsp:txXfrm>
    </dsp:sp>
    <dsp:sp modelId="{3F0E72B8-CFC3-4BCF-AA75-469A34C8364C}">
      <dsp:nvSpPr>
        <dsp:cNvPr id="0" name=""/>
        <dsp:cNvSpPr/>
      </dsp:nvSpPr>
      <dsp:spPr>
        <a:xfrm>
          <a:off x="0" y="1529280"/>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D636A3B7-34DB-4B5B-B301-40AC33C2E66E}">
      <dsp:nvSpPr>
        <dsp:cNvPr id="0" name=""/>
        <dsp:cNvSpPr/>
      </dsp:nvSpPr>
      <dsp:spPr>
        <a:xfrm>
          <a:off x="558800" y="1175040"/>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a:t>Recovery point objective (RPO) </a:t>
          </a:r>
          <a:endParaRPr lang="en-US" sz="2400" kern="1200"/>
        </a:p>
      </dsp:txBody>
      <dsp:txXfrm>
        <a:off x="593385" y="1209625"/>
        <a:ext cx="7754030" cy="639310"/>
      </dsp:txXfrm>
    </dsp:sp>
    <dsp:sp modelId="{8A8BA251-C7DF-46F7-A755-C8B5B5AFA4FE}">
      <dsp:nvSpPr>
        <dsp:cNvPr id="0" name=""/>
        <dsp:cNvSpPr/>
      </dsp:nvSpPr>
      <dsp:spPr>
        <a:xfrm>
          <a:off x="0" y="2617920"/>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6E75FEE-4E99-4AF6-8DAF-0468C2B6EC3D}">
      <dsp:nvSpPr>
        <dsp:cNvPr id="0" name=""/>
        <dsp:cNvSpPr/>
      </dsp:nvSpPr>
      <dsp:spPr>
        <a:xfrm>
          <a:off x="558800" y="2263680"/>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a:t>Mean time to recover (MTTR)</a:t>
          </a:r>
          <a:endParaRPr lang="en-US" sz="2400" kern="1200"/>
        </a:p>
      </dsp:txBody>
      <dsp:txXfrm>
        <a:off x="593385" y="2298265"/>
        <a:ext cx="7754030" cy="639310"/>
      </dsp:txXfrm>
    </dsp:sp>
    <dsp:sp modelId="{BACF4984-FD0F-45D6-856F-C91D08E97CFE}">
      <dsp:nvSpPr>
        <dsp:cNvPr id="0" name=""/>
        <dsp:cNvSpPr/>
      </dsp:nvSpPr>
      <dsp:spPr>
        <a:xfrm>
          <a:off x="0" y="3706560"/>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526BCBE-2AB2-45AE-87B0-AE2675D54241}">
      <dsp:nvSpPr>
        <dsp:cNvPr id="0" name=""/>
        <dsp:cNvSpPr/>
      </dsp:nvSpPr>
      <dsp:spPr>
        <a:xfrm>
          <a:off x="558800" y="3352320"/>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a:t>Mean time between failures (MTBF) </a:t>
          </a:r>
          <a:endParaRPr lang="en-US" sz="2400" kern="1200"/>
        </a:p>
      </dsp:txBody>
      <dsp:txXfrm>
        <a:off x="593385" y="3386905"/>
        <a:ext cx="7754030" cy="639310"/>
      </dsp:txXfrm>
    </dsp:sp>
    <dsp:sp modelId="{2A5A9608-8043-4241-99B8-56B867199FAC}">
      <dsp:nvSpPr>
        <dsp:cNvPr id="0" name=""/>
        <dsp:cNvSpPr/>
      </dsp:nvSpPr>
      <dsp:spPr>
        <a:xfrm>
          <a:off x="0" y="4795199"/>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B34E95A6-55CA-4572-9C73-EFC924E3C951}">
      <dsp:nvSpPr>
        <dsp:cNvPr id="0" name=""/>
        <dsp:cNvSpPr/>
      </dsp:nvSpPr>
      <dsp:spPr>
        <a:xfrm>
          <a:off x="558800" y="4440959"/>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a:t>Service-level agreement (SLA) </a:t>
          </a:r>
          <a:endParaRPr lang="en-US" sz="2400" kern="1200"/>
        </a:p>
      </dsp:txBody>
      <dsp:txXfrm>
        <a:off x="593385" y="4475544"/>
        <a:ext cx="7754030" cy="63931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0FE56-8004-48E7-A775-7E949B8699E0}">
      <dsp:nvSpPr>
        <dsp:cNvPr id="0" name=""/>
        <dsp:cNvSpPr/>
      </dsp:nvSpPr>
      <dsp:spPr>
        <a:xfrm>
          <a:off x="0" y="539173"/>
          <a:ext cx="2794000" cy="106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Decompose Application by Workload</a:t>
          </a:r>
        </a:p>
      </dsp:txBody>
      <dsp:txXfrm>
        <a:off x="0" y="539173"/>
        <a:ext cx="2794000" cy="1068522"/>
      </dsp:txXfrm>
    </dsp:sp>
    <dsp:sp modelId="{03035604-994E-4E7E-A76A-8C546A8BDF77}">
      <dsp:nvSpPr>
        <dsp:cNvPr id="0" name=""/>
        <dsp:cNvSpPr/>
      </dsp:nvSpPr>
      <dsp:spPr>
        <a:xfrm>
          <a:off x="2793999" y="4912"/>
          <a:ext cx="558800" cy="2137045"/>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66CA085-32BE-45C2-90C2-CC0A47895DFE}">
      <dsp:nvSpPr>
        <dsp:cNvPr id="0" name=""/>
        <dsp:cNvSpPr/>
      </dsp:nvSpPr>
      <dsp:spPr>
        <a:xfrm>
          <a:off x="3576319" y="4912"/>
          <a:ext cx="7599680" cy="2137045"/>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dirty="0"/>
            <a:t>An e-commerce app might include the following workloads: Browse and search a product </a:t>
          </a:r>
          <a:r>
            <a:rPr lang="en-IN" sz="2400" kern="1200" dirty="0" err="1"/>
            <a:t>catalog</a:t>
          </a:r>
          <a:r>
            <a:rPr lang="en-IN" sz="2400" kern="1200" dirty="0"/>
            <a:t>, Create and track orders, View recommendations.</a:t>
          </a:r>
        </a:p>
        <a:p>
          <a:pPr marL="228600" lvl="1" indent="-228600" algn="l" defTabSz="1066800">
            <a:lnSpc>
              <a:spcPct val="90000"/>
            </a:lnSpc>
            <a:spcBef>
              <a:spcPct val="0"/>
            </a:spcBef>
            <a:spcAft>
              <a:spcPct val="15000"/>
            </a:spcAft>
            <a:buChar char="•"/>
          </a:pPr>
          <a:r>
            <a:rPr lang="en-IN" sz="2400" kern="1200"/>
            <a:t>Each workload may have different requirements for availability, scalability, data consistency, and disaster recovery</a:t>
          </a:r>
        </a:p>
      </dsp:txBody>
      <dsp:txXfrm>
        <a:off x="3576319" y="4912"/>
        <a:ext cx="7599680" cy="2137045"/>
      </dsp:txXfrm>
    </dsp:sp>
    <dsp:sp modelId="{2CEC1A99-03B7-4442-A919-898B2EC80F51}">
      <dsp:nvSpPr>
        <dsp:cNvPr id="0" name=""/>
        <dsp:cNvSpPr/>
      </dsp:nvSpPr>
      <dsp:spPr>
        <a:xfrm>
          <a:off x="0" y="2375895"/>
          <a:ext cx="2794000" cy="106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Categorizing applications into different tiers</a:t>
          </a:r>
        </a:p>
      </dsp:txBody>
      <dsp:txXfrm>
        <a:off x="0" y="2375895"/>
        <a:ext cx="2794000" cy="1068522"/>
      </dsp:txXfrm>
    </dsp:sp>
    <dsp:sp modelId="{2C6D0642-5D68-4EB1-83B3-3400AC46DC65}">
      <dsp:nvSpPr>
        <dsp:cNvPr id="0" name=""/>
        <dsp:cNvSpPr/>
      </dsp:nvSpPr>
      <dsp:spPr>
        <a:xfrm>
          <a:off x="2793999" y="2158851"/>
          <a:ext cx="558800" cy="1502610"/>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E33322E1-6236-46C2-9CFE-CB653CBC39A4}">
      <dsp:nvSpPr>
        <dsp:cNvPr id="0" name=""/>
        <dsp:cNvSpPr/>
      </dsp:nvSpPr>
      <dsp:spPr>
        <a:xfrm>
          <a:off x="3576319" y="2158851"/>
          <a:ext cx="7599680" cy="150261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Each tier define the exact availability SLA, RPO, and RTO requirements</a:t>
          </a:r>
        </a:p>
        <a:p>
          <a:pPr marL="228600" lvl="1" indent="-228600" algn="l" defTabSz="1066800">
            <a:lnSpc>
              <a:spcPct val="90000"/>
            </a:lnSpc>
            <a:spcBef>
              <a:spcPct val="0"/>
            </a:spcBef>
            <a:spcAft>
              <a:spcPct val="15000"/>
            </a:spcAft>
            <a:buChar char="•"/>
          </a:pPr>
          <a:r>
            <a:rPr lang="en-IN" sz="2400" kern="1200" dirty="0"/>
            <a:t>Categorization may vary from customer to customer or industry to industry</a:t>
          </a:r>
        </a:p>
      </dsp:txBody>
      <dsp:txXfrm>
        <a:off x="3576319" y="2158851"/>
        <a:ext cx="7599680" cy="1502610"/>
      </dsp:txXfrm>
    </dsp:sp>
    <dsp:sp modelId="{0E8E3514-64FE-46AE-A860-C147CC73DA62}">
      <dsp:nvSpPr>
        <dsp:cNvPr id="0" name=""/>
        <dsp:cNvSpPr/>
      </dsp:nvSpPr>
      <dsp:spPr>
        <a:xfrm>
          <a:off x="0" y="4045660"/>
          <a:ext cx="2794000" cy="106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dirty="0"/>
            <a:t>Differentiate by Customer type (SaaS)</a:t>
          </a:r>
        </a:p>
      </dsp:txBody>
      <dsp:txXfrm>
        <a:off x="0" y="4045660"/>
        <a:ext cx="2794000" cy="1068522"/>
      </dsp:txXfrm>
    </dsp:sp>
    <dsp:sp modelId="{D80685E5-192C-4F8D-A82A-E1D55B64DC2F}">
      <dsp:nvSpPr>
        <dsp:cNvPr id="0" name=""/>
        <dsp:cNvSpPr/>
      </dsp:nvSpPr>
      <dsp:spPr>
        <a:xfrm>
          <a:off x="2793999" y="3678355"/>
          <a:ext cx="558800" cy="1803132"/>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C62B6FB2-5E70-40E3-8F3B-A54AD4D61527}">
      <dsp:nvSpPr>
        <dsp:cNvPr id="0" name=""/>
        <dsp:cNvSpPr/>
      </dsp:nvSpPr>
      <dsp:spPr>
        <a:xfrm>
          <a:off x="3576319" y="3678355"/>
          <a:ext cx="7599680" cy="180313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dirty="0"/>
            <a:t>Different Customers with different Non-Functional requirements, including resiliency (and scaling, perf…)</a:t>
          </a:r>
        </a:p>
        <a:p>
          <a:pPr marL="228600" lvl="1" indent="-228600" algn="l" defTabSz="1066800">
            <a:lnSpc>
              <a:spcPct val="90000"/>
            </a:lnSpc>
            <a:spcBef>
              <a:spcPct val="0"/>
            </a:spcBef>
            <a:spcAft>
              <a:spcPct val="15000"/>
            </a:spcAft>
            <a:buChar char="•"/>
          </a:pPr>
          <a:r>
            <a:rPr lang="en-IN" sz="2400" kern="1200" dirty="0"/>
            <a:t>Might consider accommodating those differences by having different deployments for different Customer types</a:t>
          </a:r>
        </a:p>
      </dsp:txBody>
      <dsp:txXfrm>
        <a:off x="3576319" y="3678355"/>
        <a:ext cx="7599680" cy="180313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D6E389-31B2-4CDF-83E8-2A9ED357023B}">
      <dsp:nvSpPr>
        <dsp:cNvPr id="0" name=""/>
        <dsp:cNvSpPr/>
      </dsp:nvSpPr>
      <dsp:spPr>
        <a:xfrm>
          <a:off x="1200546" y="1041"/>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Hardware failure</a:t>
          </a:r>
        </a:p>
      </dsp:txBody>
      <dsp:txXfrm>
        <a:off x="1200546" y="1041"/>
        <a:ext cx="2742158" cy="1645294"/>
      </dsp:txXfrm>
    </dsp:sp>
    <dsp:sp modelId="{07C206BA-72E3-4D0C-8357-5240DABE95E5}">
      <dsp:nvSpPr>
        <dsp:cNvPr id="0" name=""/>
        <dsp:cNvSpPr/>
      </dsp:nvSpPr>
      <dsp:spPr>
        <a:xfrm>
          <a:off x="4216920" y="1041"/>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Datacenter failure</a:t>
          </a:r>
        </a:p>
      </dsp:txBody>
      <dsp:txXfrm>
        <a:off x="4216920" y="1041"/>
        <a:ext cx="2742158" cy="1645294"/>
      </dsp:txXfrm>
    </dsp:sp>
    <dsp:sp modelId="{161464D0-A3EA-4005-920A-6A1E406E6589}">
      <dsp:nvSpPr>
        <dsp:cNvPr id="0" name=""/>
        <dsp:cNvSpPr/>
      </dsp:nvSpPr>
      <dsp:spPr>
        <a:xfrm>
          <a:off x="7233294" y="1041"/>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Regional failure </a:t>
          </a:r>
        </a:p>
      </dsp:txBody>
      <dsp:txXfrm>
        <a:off x="7233294" y="1041"/>
        <a:ext cx="2742158" cy="1645294"/>
      </dsp:txXfrm>
    </dsp:sp>
    <dsp:sp modelId="{64426AF3-0622-4BCA-85EC-E71EE280EDA3}">
      <dsp:nvSpPr>
        <dsp:cNvPr id="0" name=""/>
        <dsp:cNvSpPr/>
      </dsp:nvSpPr>
      <dsp:spPr>
        <a:xfrm>
          <a:off x="1200546" y="1920552"/>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Transient failure</a:t>
          </a:r>
        </a:p>
      </dsp:txBody>
      <dsp:txXfrm>
        <a:off x="1200546" y="1920552"/>
        <a:ext cx="2742158" cy="1645294"/>
      </dsp:txXfrm>
    </dsp:sp>
    <dsp:sp modelId="{7E60F42A-67EB-466C-B689-C1B6241DDD1E}">
      <dsp:nvSpPr>
        <dsp:cNvPr id="0" name=""/>
        <dsp:cNvSpPr/>
      </dsp:nvSpPr>
      <dsp:spPr>
        <a:xfrm>
          <a:off x="4216920" y="1920552"/>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Dependency service failure</a:t>
          </a:r>
        </a:p>
      </dsp:txBody>
      <dsp:txXfrm>
        <a:off x="4216920" y="1920552"/>
        <a:ext cx="2742158" cy="1645294"/>
      </dsp:txXfrm>
    </dsp:sp>
    <dsp:sp modelId="{E0EC4003-FCA3-45F0-9176-A7A1A076E77F}">
      <dsp:nvSpPr>
        <dsp:cNvPr id="0" name=""/>
        <dsp:cNvSpPr/>
      </dsp:nvSpPr>
      <dsp:spPr>
        <a:xfrm>
          <a:off x="7233294" y="1920552"/>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Accidental data deletion or corruption</a:t>
          </a:r>
        </a:p>
      </dsp:txBody>
      <dsp:txXfrm>
        <a:off x="7233294" y="1920552"/>
        <a:ext cx="2742158" cy="1645294"/>
      </dsp:txXfrm>
    </dsp:sp>
    <dsp:sp modelId="{58D601B5-D0C4-4F07-9C4C-59723F702BC1}">
      <dsp:nvSpPr>
        <dsp:cNvPr id="0" name=""/>
        <dsp:cNvSpPr/>
      </dsp:nvSpPr>
      <dsp:spPr>
        <a:xfrm>
          <a:off x="4216920" y="3840063"/>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Application deployment failure</a:t>
          </a:r>
        </a:p>
      </dsp:txBody>
      <dsp:txXfrm>
        <a:off x="4216920" y="3840063"/>
        <a:ext cx="2742158" cy="164529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F9BB68-0121-42B1-8810-CB309912FABF}">
      <dsp:nvSpPr>
        <dsp:cNvPr id="0" name=""/>
        <dsp:cNvSpPr/>
      </dsp:nvSpPr>
      <dsp:spPr>
        <a:xfrm>
          <a:off x="0" y="1017450"/>
          <a:ext cx="2794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Infrastructure as code</a:t>
          </a:r>
        </a:p>
      </dsp:txBody>
      <dsp:txXfrm>
        <a:off x="0" y="1017450"/>
        <a:ext cx="2794000" cy="1287000"/>
      </dsp:txXfrm>
    </dsp:sp>
    <dsp:sp modelId="{73F28233-2B17-439D-9797-8558B2E50C7B}">
      <dsp:nvSpPr>
        <dsp:cNvPr id="0" name=""/>
        <dsp:cNvSpPr/>
      </dsp:nvSpPr>
      <dsp:spPr>
        <a:xfrm>
          <a:off x="2793999" y="856575"/>
          <a:ext cx="558800" cy="1608750"/>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E269F82-05FB-4C2E-BFD1-17608A4FD02B}">
      <dsp:nvSpPr>
        <dsp:cNvPr id="0" name=""/>
        <dsp:cNvSpPr/>
      </dsp:nvSpPr>
      <dsp:spPr>
        <a:xfrm>
          <a:off x="3576319" y="856575"/>
          <a:ext cx="7599680" cy="160875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The practice of using code to provision and configure infrastructure. </a:t>
          </a:r>
        </a:p>
        <a:p>
          <a:pPr marL="228600" lvl="1" indent="-228600" algn="l" defTabSz="1066800">
            <a:lnSpc>
              <a:spcPct val="90000"/>
            </a:lnSpc>
            <a:spcBef>
              <a:spcPct val="0"/>
            </a:spcBef>
            <a:spcAft>
              <a:spcPct val="15000"/>
            </a:spcAft>
            <a:buChar char="•"/>
          </a:pPr>
          <a:r>
            <a:rPr lang="en-IN" sz="2400" kern="1200"/>
            <a:t>Declarative approach or Imperative approach (or a combination of both)</a:t>
          </a:r>
        </a:p>
      </dsp:txBody>
      <dsp:txXfrm>
        <a:off x="3576319" y="856575"/>
        <a:ext cx="7599680" cy="1608750"/>
      </dsp:txXfrm>
    </dsp:sp>
    <dsp:sp modelId="{6066F863-8A46-4A18-9491-74666FD4BF77}">
      <dsp:nvSpPr>
        <dsp:cNvPr id="0" name=""/>
        <dsp:cNvSpPr/>
      </dsp:nvSpPr>
      <dsp:spPr>
        <a:xfrm>
          <a:off x="0" y="3021075"/>
          <a:ext cx="2794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Immutable infrastructure</a:t>
          </a:r>
        </a:p>
      </dsp:txBody>
      <dsp:txXfrm>
        <a:off x="0" y="3021075"/>
        <a:ext cx="2794000" cy="1287000"/>
      </dsp:txXfrm>
    </dsp:sp>
    <dsp:sp modelId="{D29BF819-5F75-4037-BF79-A209FF91B863}">
      <dsp:nvSpPr>
        <dsp:cNvPr id="0" name=""/>
        <dsp:cNvSpPr/>
      </dsp:nvSpPr>
      <dsp:spPr>
        <a:xfrm>
          <a:off x="2793999" y="2699325"/>
          <a:ext cx="558800" cy="1930500"/>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7FD63E4-5B0A-401F-B773-892761FCC472}">
      <dsp:nvSpPr>
        <dsp:cNvPr id="0" name=""/>
        <dsp:cNvSpPr/>
      </dsp:nvSpPr>
      <dsp:spPr>
        <a:xfrm>
          <a:off x="3576319" y="2699325"/>
          <a:ext cx="7599680" cy="19305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The principle that you shouldn’t modify infrastructure after it’s deployed to production</a:t>
          </a:r>
        </a:p>
        <a:p>
          <a:pPr marL="228600" lvl="1" indent="-228600" algn="l" defTabSz="1066800">
            <a:lnSpc>
              <a:spcPct val="90000"/>
            </a:lnSpc>
            <a:spcBef>
              <a:spcPct val="0"/>
            </a:spcBef>
            <a:spcAft>
              <a:spcPct val="15000"/>
            </a:spcAft>
            <a:buChar char="•"/>
          </a:pPr>
          <a:r>
            <a:rPr lang="en-IN" sz="2400" kern="1200"/>
            <a:t>When ad hoc changes have been applied, it’s hard to know exactly what changed, and hard to reason about the system</a:t>
          </a:r>
        </a:p>
      </dsp:txBody>
      <dsp:txXfrm>
        <a:off x="3576319" y="2699325"/>
        <a:ext cx="7599680" cy="19305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E906E7-27F0-4537-A190-DF5AC848D5D8}">
      <dsp:nvSpPr>
        <dsp:cNvPr id="0" name=""/>
        <dsp:cNvSpPr/>
      </dsp:nvSpPr>
      <dsp:spPr>
        <a:xfrm>
          <a:off x="0" y="816356"/>
          <a:ext cx="2794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Blue-green deployment</a:t>
          </a:r>
        </a:p>
      </dsp:txBody>
      <dsp:txXfrm>
        <a:off x="0" y="816356"/>
        <a:ext cx="2794000" cy="1287000"/>
      </dsp:txXfrm>
    </dsp:sp>
    <dsp:sp modelId="{5E65DCEF-BCA3-437B-B49C-B2BDCEBB4D2E}">
      <dsp:nvSpPr>
        <dsp:cNvPr id="0" name=""/>
        <dsp:cNvSpPr/>
      </dsp:nvSpPr>
      <dsp:spPr>
        <a:xfrm>
          <a:off x="2793999" y="494606"/>
          <a:ext cx="558800" cy="1930500"/>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7591CB68-E9EB-4600-A96E-998CAA3E46E4}">
      <dsp:nvSpPr>
        <dsp:cNvPr id="0" name=""/>
        <dsp:cNvSpPr/>
      </dsp:nvSpPr>
      <dsp:spPr>
        <a:xfrm>
          <a:off x="3576319" y="494606"/>
          <a:ext cx="7599680" cy="19305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A technique whereby an update is deployed into a production environment separately from the live application</a:t>
          </a:r>
        </a:p>
        <a:p>
          <a:pPr marL="228600" lvl="1" indent="-228600" algn="l" defTabSz="1066800">
            <a:lnSpc>
              <a:spcPct val="90000"/>
            </a:lnSpc>
            <a:spcBef>
              <a:spcPct val="0"/>
            </a:spcBef>
            <a:spcAft>
              <a:spcPct val="15000"/>
            </a:spcAft>
            <a:buChar char="•"/>
          </a:pPr>
          <a:r>
            <a:rPr lang="en-IN" sz="2400" kern="1200"/>
            <a:t>After validating the deployment, switch the traffic routing to the updated version</a:t>
          </a:r>
        </a:p>
      </dsp:txBody>
      <dsp:txXfrm>
        <a:off x="3576319" y="494606"/>
        <a:ext cx="7599680" cy="1930500"/>
      </dsp:txXfrm>
    </dsp:sp>
    <dsp:sp modelId="{CA0C951F-4CC4-456D-9823-C1B7E23E8B33}">
      <dsp:nvSpPr>
        <dsp:cNvPr id="0" name=""/>
        <dsp:cNvSpPr/>
      </dsp:nvSpPr>
      <dsp:spPr>
        <a:xfrm>
          <a:off x="0" y="3181950"/>
          <a:ext cx="2794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Canary releases</a:t>
          </a:r>
        </a:p>
      </dsp:txBody>
      <dsp:txXfrm>
        <a:off x="0" y="3181950"/>
        <a:ext cx="2794000" cy="1287000"/>
      </dsp:txXfrm>
    </dsp:sp>
    <dsp:sp modelId="{9B459E30-73F3-4DEE-830E-B444BC5F5E3B}">
      <dsp:nvSpPr>
        <dsp:cNvPr id="0" name=""/>
        <dsp:cNvSpPr/>
      </dsp:nvSpPr>
      <dsp:spPr>
        <a:xfrm>
          <a:off x="2793999" y="2659106"/>
          <a:ext cx="558800" cy="2332687"/>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9767FB2-D252-4904-9076-9B43052359F8}">
      <dsp:nvSpPr>
        <dsp:cNvPr id="0" name=""/>
        <dsp:cNvSpPr/>
      </dsp:nvSpPr>
      <dsp:spPr>
        <a:xfrm>
          <a:off x="3576319" y="2659106"/>
          <a:ext cx="7599680" cy="233268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The update is rolled out to a small percentage of users by routing a portion of the traffic to the new deployment</a:t>
          </a:r>
        </a:p>
        <a:p>
          <a:pPr marL="228600" lvl="1" indent="-228600" algn="l" defTabSz="1066800">
            <a:lnSpc>
              <a:spcPct val="90000"/>
            </a:lnSpc>
            <a:spcBef>
              <a:spcPct val="0"/>
            </a:spcBef>
            <a:spcAft>
              <a:spcPct val="15000"/>
            </a:spcAft>
            <a:buChar char="•"/>
          </a:pPr>
          <a:r>
            <a:rPr lang="en-IN" sz="2400" kern="1200"/>
            <a:t>If there’s a problem, back off and revert to the old deployment</a:t>
          </a:r>
        </a:p>
        <a:p>
          <a:pPr marL="228600" lvl="1" indent="-228600" algn="l" defTabSz="1066800">
            <a:lnSpc>
              <a:spcPct val="90000"/>
            </a:lnSpc>
            <a:spcBef>
              <a:spcPct val="0"/>
            </a:spcBef>
            <a:spcAft>
              <a:spcPct val="15000"/>
            </a:spcAft>
            <a:buChar char="•"/>
          </a:pPr>
          <a:r>
            <a:rPr lang="en-IN" sz="2400" kern="1200"/>
            <a:t>Else incrementally route more traffic to the new version until it’s handling 100 percent of the traffic</a:t>
          </a:r>
        </a:p>
      </dsp:txBody>
      <dsp:txXfrm>
        <a:off x="3576319" y="2659106"/>
        <a:ext cx="7599680" cy="2332687"/>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7.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ax="2.14748E9" units="cm"/>
          <inkml:channel name="Y" type="integer" max="2.14748E9" units="cm"/>
          <inkml:channel name="F" type="integer" max="8192" units="dev"/>
        </inkml:traceFormat>
        <inkml:channelProperties>
          <inkml:channelProperty channel="X" name="resolution" value="1000" units="1/cm"/>
          <inkml:channelProperty channel="Y" name="resolution" value="1000" units="1/cm"/>
          <inkml:channelProperty channel="F" name="resolution" value="1" units="1/dev"/>
        </inkml:channelProperties>
      </inkml:inkSource>
      <inkml:timestamp xml:id="ts0" timeString="2020-12-17T09:29:05.685"/>
    </inkml:context>
    <inkml:brush xml:id="br0">
      <inkml:brushProperty name="width" value="0.05276" units="cm"/>
      <inkml:brushProperty name="height" value="0.05276" units="cm"/>
      <inkml:brushProperty name="color" value="#0069BF"/>
    </inkml:brush>
  </inkml:definitions>
  <inkml:trace contextRef="#ctx0" brushRef="#br0">4080-78 2176,'-23'-29'808,"15"16"-624,-2-6-56,9 8-64,-8-1-88,-3-8 16,-5 2 24,-3-1 8,-2-7-8,-8-1 8,-4 2 0,-6-7 8,-10 1 0,-1-6-16,-2 7-16,-9 0-16,-5 8 8,-14 4-8,-2 11 0,-5 7 32,-4 11 8,5 10 8,-10 6 16,2 1-24,-5 7 0,5-3-8,2 2-16,10 0 24,2-4 0,-7-7-8,11-1-16,1-5-16,-2-2 8,6-8-32,7 3 8,-1-8-24,7 4 0,-5 5 8,-3 15 16,-6 13 32,-1 15 16,-1 14 16,2 19 16,5 14-8,0 10 16,10-1-32,7-5 0,1-6-8,10-4 8,4 2-16,7-21-8,5-19-80,8-16-32,6-9-32,3-11-16,-1-5-16,2 11-56,6 11 64,0 9 168,6 24 72,-3 27 112,4 24 48,8 4-72,7 17-16,4-6-64,11-11-32,-1-33-8,6-17-8,0-22-56,10-17 0,2-10-96,7-16-24,4-11-72,1-7 0,6-3-16,3 0 8,-5 10 104,2 16 72,10 7 104,1 23 56,7 12 56,-4 18 16,6 3-64,4 2-16,9-6-56,1-15-16,-3-19 0,2-20 16,0-10-64,1-15 0,2-14-88,-8-18-16,-2-7-96,7-14-40,-3 7 24,-6 18 24,-3 9 240,-10 16 128,-2 11 104,-2 13 40,0 9-72,3 10-24,-8 3-72,5-2-16,-2-19-40,-6-8-8,5-13-24,0-12-8,0-28-64,4-11 0,-3-3-120,0-9-24,-8 4 16,-8-5 24,-10 15 80,-1 10 24,-6 19 112,-7 14 40,-1 19 24,-4 8 24,-4 4-64,5 2-8,-12-1-56,7-10-16,-2-13 0,6-13 16,-1-24-96,1-24-24,-4-27-40,0-8 8,-2-5 40,-5-12 16,-2-8 8,0 11 8,3 16 24,-12 26 16,3 10 88,-4 15 56,-6 11-8,-3 6 8,0 9 24,-3-1 8,-6 0-48,0-5-16,-2 1-56,-1-6-24,-5-7-16,2-1 0,0 0-32,1-2 0,-10-4-8,-4-9-16,-6 3 0,0-6 0,-15 1 24,-3-9 16,-5-10-16,-15-10 0,2-5-32,-11 4-8,-9 7 128,-11-1 56,-4 4 8,-5 5 0,-14 4-80,-7 6-24,-6 9-24,7 4 8,6 2-56,10 4 8,4 12-664,10 7-288,-5 12 488,-4 1 240</inkml:trace>
  <inkml:trace contextRef="#ctx0" brushRef="#br0" timeOffset="1">2082 944 1888,'-9'0'704,"9"14"-552,9 8-56,-5-4-56,-2 10-40,3 11 0,3 3 16,-4 5 8,0 5-8,1-1-32,-1 8 8,-4 5 8,5-2 0,-5-5-112,0 0-24,-5-13 56,1-7 32</inkml:trace>
  <inkml:trace contextRef="#ctx0" brushRef="#br0" timeOffset="2">1944 1179 2272,'-22'-43'856,"22"31"-664,4-15-40,1 15-48,4-7-64,-1-2 0,3 0-24,3 0-16,8-1 8,2 6-32,3 1 16,4 5 8,-4 0 0,9 9 0,6 2 0,-6 9 0,-4 4 0,-1 4-40,-3 7 8,-6 5-72,-5 9-32,-10 1 0,-7 0 16,-7 1 72,-7-3 24,-7-5 24,-2-5 16,-5-1 24,-1-7 16,-2-4 24,4-2 8,1-4 8,6-2 0,4-5 0,7-3 0,9-7-48,13-4-16,5 1-32,8-1-8,7 0 8,-1 1 0,0 1-24,0 7 16,-5 2 8,4 2 0,-12 5 0,-6 5 0,-5 10-24,-8 6 16,-8 8 8,-3 4 16,-9-1-8,-7-1 16,-14-2 0,1-5 24,-3-8-8,-1-3 0,-2-9 8,10-6 8,-1-5-64,5-1-8,10-10-368,10-9-168,10-7 288,4-4 128</inkml:trace>
  <inkml:trace contextRef="#ctx0" brushRef="#br0" timeOffset="3">2549 1531 1568,'-8'0'592,"4"-5"-464,0 1 8,4 4-48,0-1-24,0-9 16,0 5 8,0-2 24,0-2-56,-3 1 56,-1-7 40,0 0-8,0 5-8,-1-4-24,3 2-8,-7 5-56,3 3-32,-4 4-32,-1 8-8,-3 3-8,7 13 24,-3 2-16,6 10-8,3 0 24,1 2 0,0-4 8,1 0 0,3-7 0,6-4 16,-3-9 8,7-4 8,1-8 16,2-9 8,-2-4-24,4-12-8,2-7 8,-2-2 0,-5-7-16,-3 6 8,-4 1-16,-2 1-8,0 8 8,-1 5 8,-4 6-24,4 3 0,-4 9-8,4 9 0,-2 3 0,2 10 0,1 6 16,-1-1 0,2 4 0,1-4 0,1-3-24,2-5 0,-3-5-336,5-3-144,-5-11 256,7-11 144</inkml:trace>
  <inkml:trace contextRef="#ctx0" brushRef="#br0" timeOffset="4">2870 1380 1632,'-4'-8'616,"4"1"-480,7 4-72,-4 0-56,5-1-40,2-3 16,-2 2 8,-2-6 24,1 2-8,1 2 104,-4 3 56,0 0 8,-4 4-8,0 0 0,-8 4 8,-5 0-96,5 12-48,-10-4-16,4 6-16,-8 0 0,7 0 0,-2-1 0,5-2 0,1-3 0,7-3 0,4-1 16,7-1 8,9-3 8,1-4-16,2-4 8,6 0 0,4 1 8,-4 3-40,3 0 8,-5 3 0,4 5 0,-8 3 0,-2 2 16,-11 3-8,-1 5 16,-10 0 0,-1-1 24,-11 5-8,-2-2 0,-8 3-24,1 0 8,1-5-16,0-2 16,-4-6-16,4-7-8,2 0-280,2-6-128,10-10 184,-3-12 120</inkml:trace>
  <inkml:trace contextRef="#ctx0" brushRef="#br0" timeOffset="5">3060 1442 2496,'0'0'944,"4"1"-736,4 8-144,-5-5-104,1 0-144,-1 3-16,7 0-8,-6 1 16,-1 0 104,1 3 96,-4 5 64,0-1 72,0 6 24,0 4-16,0 5-8,0 4-64,0 3-32,0-3-24,0-9-24,0-3-48,4-7-8,0-6-104,0-9-16,1-20 96,3-16 40</inkml:trace>
  <inkml:trace contextRef="#ctx0" brushRef="#br0" timeOffset="6">3199 1135 2560,'-4'10'968,"-4"-13"-760,8 3-32,0 0-64,0 0-104,0 0-24,0 0-280,0 3-120,4 1 216,0-4 96,0 0 80</inkml:trace>
  <inkml:trace contextRef="#ctx0" brushRef="#br0" timeOffset="7">3359 1412 1120,'0'3'416,"0"-3"-328,7 8-16,-7-4-40,4-1-16,0 8 8,0-10 144,0 4 88,1-3-128,-1 0 176,-4-2 88,0 0-40,0 0-16,-9-2-112,1-5-64,0 2-40,-3-2-16,-4 4-8,-2 3 16,-1 3-56,-4 9-16,-3 8-96,8 12-40,5 9 48,9 6 16,6-5 32,13 5 0,16-6 48,10-12 32,5-7-216,18-18-104,4-35 120,0-38 56</inkml:trace>
  <inkml:trace contextRef="#ctx0" brushRef="#br0" timeOffset="8">779 4156 1952,'-4'-25'744,"4"14"-576,-4-6 112,4 3 16,-4-4-96,1-4-24,-5-3-24,1-7-8,-6 2-72,-3 2-8,-4-2 16,1 8 0,-9 5 32,-2 9-56,-2 5-32,0 6-88,-2 15-40,-2 4 0,-2 10 16,11 12 40,-1 7 8,9 17 0,6 3 32,9 2 0,8-12 8,9-7 0,6-10 16,9-3-8,4-9 16,9-14-56,2-8-8,0-6-360,-3-8-144,0-9 272,1-13 136</inkml:trace>
  <inkml:trace contextRef="#ctx0" brushRef="#br0" timeOffset="9">941 4644 2432,'-18'11'896,"14"-10"-696,1 5-32,3-6-80,0 0-56,0-7 0,3-3 0,1-2 0,0-7-16,0-2-32,0-5 8,2-11 24,-3 3 24,-3 5 32,0-2 16,0 11-8,0-1-8,4 15-24,1 6-8,-1 5-64,2 11 0,5 10-32,3 5 16,-2 2-488,2 7-224,0 7 384,-7-1 176</inkml:trace>
  <inkml:trace contextRef="#ctx0" brushRef="#br0" timeOffset="10">2486 4059 1824,'-11'-8'704,"6"5"-552,-3-5 64,4 6-8,0-7-40,-6-1 16,5 1-72,-8-7-8,0 2-56,-3-8 24,0-1 8,-1-1-8,-2-1 16,-2 3-16,0 4 16,-4-1-32,6 4 8,2 4-80,2 6 0,4 5-16,-2 6 16,1 13-8,-2 9-8,9 2 0,-5 9 24,6 8-16,4 7 8,0 7 16,9 0 16,1-3-8,8-8-8,6-6 8,-1-8 8,5-8-24,1-8 0,0-9-80,3-8-24,-3-3-424,4-11-160,3-3 336,-4-9 184</inkml:trace>
  <inkml:trace contextRef="#ctx0" brushRef="#br0" timeOffset="11">2671 4304 1984,'-15'4'744,"8"-8"-576,3 0-48,4 4-48,0 0-64,0 0 16,0-3 0,4-1 8,3 0-16,0 2 56,5-3 32,1 2 40,2 0 24,2-1-56,1 4-24,-3 0-48,3 4-16,-10 2-8,6 5-16,-7 4-48,1 4-8,-4 1-48,-4 7-16,0-2 32,-4 6 32,0-5 48,0-5 24,4-5 16,4-2 16,4 0 24,5-9 16,2 4-24,6-8-24,2 3-56,3-4-8,11 0-560,0-5-240,-5-12 416,-7-18 200</inkml:trace>
  <inkml:trace contextRef="#ctx0" brushRef="#br0" timeOffset="12">-23 3581 2208,'-13'-28'832,"9"18"-648,0 3-16,4 3-32,0 4-120,0 0-8,0 0-24,0 4 0,4 4 16,-1 16 0,-2 15 0,5 9 0,-3 21 0,1 3 16,-1 18 8,5 15 8,0 14 0,1-4-16,2-7 8,1 0 0,1-13 8,-2-5-16,2-11-16,-4-14-32,3-14-16,-5-12-440,0-10-168,3-21 360,-6-31 208</inkml:trace>
  <inkml:trace contextRef="#ctx0" brushRef="#br0" timeOffset="13">33 3514 2368,'13'-8'880,"10"5"-688,19-1-72,-23 2-64,9-3-72,12 1 0,3 1 16,12 0 0,5 3 0,9 0 16,-1 0 8,2-4 40,8 0 24,5 4-32,5-3 8,3 3-40,-7 0 0,0 3-8,-15-3-16,6 4 24,-12 0 0,-3-1-8,-9 0-16,-7 6 24,-7-3 16,-5 1 0,-8-1 16,-5 5-32,-2 0 0,-6 4 8,-10 4 0,-1 1-16,0 13-16,-1 8 8,-3 15 8,1 2-24,-1 11 0,4 3 8,0 17 0,4 10 0,3-9 0,0-11 0,5-3 0,1-10-24,-2-4 16,1-10 8,1-5 0,-2-9 0,-3-3 16,-1-12-8,1-2 16,-4-4 56,-4-2 40,-4-4-72,-4-8-48,-3 1 0,-8-4-8,-13-4 8,-7 1 0,-8-1-56,-11 4 0,-10 0 96,-15 0 48,-12 0-24,-8 0-16,5 4-24,-4-1-24,-3 1-16,7 3 8,6 0-8,6 0-16,20-3-792,12-4-360,21-11 600,11-10 288</inkml:trace>
  <inkml:trace contextRef="#ctx0" brushRef="#br0" timeOffset="14">2087 3576 2176,'-15'-27'808,"11"16"-624,0-2-72,4 5-64,-4 1-16,4 0 16,-4 1-16,4 6-8,0 0-8,0 2-32,0 13-8,0 13 16,0 19 16,0 8 0,0 14-8,4-1 8,0 14 8,0 5-8,0 7-8,6 3 8,-5-3 8,4-15 24,0-2 16,4-13-8,-1-16-8,-5-11-96,1-6-40,1-15-856,-1-9-376,-8-14 672</inkml:trace>
  <inkml:trace contextRef="#ctx0" brushRef="#br0" timeOffset="15">2072 3510 2464,'-8'-7'920,"0"3"-712,12 8-96,0-4-80,9 2-64,6 3-8,7-1 32,10-2 0,9 2 8,3-4 0,8-4 16,7 4 8,7 0 24,12 0 8,-2 0 8,-7 0-16,9 4-8,-6 0-24,-1 3 8,-4 4-16,-7-1 16,-4 5-16,-11 0-8,-7 2 24,-7 1 16,-5-3 32,-6-3 16,-5 2 24,-7 4 32,2 4-96,-7 3-32,-1 10-8,-2 8 8,-4 9-8,0-2-8,0 8-48,0-1-8,0 13 56,0-3 56,1 2-24,4-12-16,0 1-8,-5-6-8,4-12-24,-3-4 16,5-8 8,-3-3 0,2-6 0,-5-3 0,0-1-40,0-4-8,-14-6 176,-1 1-48,-8-6 0,-9 0-40,-8-6-16,-12 2-8,-7 3 8,-9-3 0,-12-3 24,-7-2-24,-10 3 0,0 0-8,13 2-16,2 4 8,3 0-8,6 0-24,7 0 16,6 4-152,12-3-72,11 4-712,13-5-312,6-6 640,13-29 328</inkml:trace>
  <inkml:trace contextRef="#ctx0" brushRef="#br0" timeOffset="16">3891 4399 2880,'-18'5'1072,"18"-5"-832,0 2-48,4 1-72,6 7-184,-3-5-40,6 2-544,3 2-232,-1-5 448,1-4 216,4-4 168</inkml:trace>
  <inkml:trace contextRef="#ctx0" brushRef="#br0" timeOffset="17">4255 4493 2016,'4'3'744,"-2"1"-576,11-8-120,-10 1-96,3-1 0,2-7 16</inkml:trace>
  <inkml:trace contextRef="#ctx0" brushRef="#br0" timeOffset="18">4460 4452 2368,'-4'10'896,"4"-6"-696,4 7-16,-4-11-104,4 1-104,0 4-592,3-5-240,-3-5 424,2 4 216</inkml:trace>
  <inkml:trace contextRef="#ctx0" brushRef="#br0" timeOffset="19">5573 3807 2304,'7'7'856,"-10"-14"-664,3 1 32,0 6-32,0-9-96,-4 2-16,-5-4-24,-2-1 0,-5-2-32,-4-4-16,-10 5 16,0-6 0,-10 7 24,-2 1-24,-2 6 0,8 5-8,-4 10 8,2 8-32,7 10-16,-1 15-8,4 5 24,3 10-16,10 3 8,-3 4 16,5 8 16,9-2 8,4 1 8,9-14 72,3-4 48,8-9-136,6-13-40,1-8-8,8-10-8,-2-12 88,3-4 48,6-12-184,-8-7-72,-5 0-512,6-10-216,-2 3 456,-7 2 232</inkml:trace>
  <inkml:trace contextRef="#ctx0" brushRef="#br0" timeOffset="20">5595 4495 1312,'0'15'504,"0"-19"-392,0 4 128,0 0 40,0 0 40,0-7 40,0 0-56,0 0-24,-4-2-152,4-6 8,0-1 24,0 0 0,0-4 24,4 5-104,0 5-48,-1-1-40,5 4 0,3 2 8,2 5 16,-1 0-8,-1 8-8,2 2 8,1 2 8,-2-5-8,2 14-8,-9-9 8,4 2 8,-1-3-24,-5 0 0,1-2-8,0-7 0,0 2-40,-4-4 0,0-4 96,0-3 64,3-3-32,1-7 0,0-3-40,0 0-24,5 0 0,-1-3-8,-1 5 0,1 1 16,2 5-48,-3 5 8,7 7 8,-3 4 8,-3 7-16,2 4 16,1 2 8,1 6 0,-3-6-264,-2 8-120,1-9 192,0 0 96</inkml:trace>
  <inkml:trace contextRef="#ctx0" brushRef="#br0" timeOffset="21">4667 3517 1952,'-21'-17'720,"11"10"-560,1 3 64,9 4-16,0 0-80,0 0-8,0 11-72,0 10-32,5 12 8,4 13 16,2 10-16,-2 12 0,4 5 8,5 10 0,-3 14 0,2 3 16,-2 7-8,2-9 16,-2 1-16,0-12 0,-4-15-24,1-7 8,-3-15-72,-1-21-24,-1-10-688,-3-23-288,-8-12 528</inkml:trace>
  <inkml:trace contextRef="#ctx0" brushRef="#br0" timeOffset="22">4742 3764 2688,'-24'-6'1008,"24"0"-784,5-2-128,-1 1-112,5-4-80,5-2 0,10-3 32,6-6 24,10-3 24,6 1 8,1-2 8,1 2 48,5 1 32,4 6 24,16 2 24,-1 8-56,8 3-24,-1 0-24,-3 4 0,6 0-16,-5 0-8,3 4 8,-4-4 8,-4 0 8,-10 0 8,1 0 72,-12 0 24,-7 0-56,-5 0-40,-6 0-80,-11 0-8,-7 4 8,-2 3 8,-4 8 24,-4 2 8,-5 11 72,0 2 56,0 9-144,0 9-56,0 6 32,0 6 40,0 3-8,1 8 8,6 6 8,6 9 0,-3-13 0,0-4 0,8-8 0,-1-6 0,-2-12 0,0-1 0,-2-12-24,-1-2 16,-1-9 8,3 3 0,-7-2 88,-2-8 40,0-1-48,-1-1-8,-4 0-24,-9-5-8,1 2-8,-14-1 16,-6-4-24,-6 3 0,-11 0 8,-21-4 16,-15 8-24,-19 3 0,-9 10-8,-5 6-16,-8 4 8,9-4-8,6-1-40,4-9-8,5-14-1352</inkml:trace>
  <inkml:trace contextRef="#ctx0" brushRef="#br0" timeOffset="23">1027 3554 1952,'-20'1'720,"12"-2"-560,3-4 32,5 5-40,0-5-80,5 0-8,3-6 40,2-3 24,7-7-64,1-5 32,16-7 16,5-16 48,5-13 16,8-11-24,11-5 8,9-9-144,4-8-40,6-2 72,-14 1 56,1 12-64,-10 11-24,-9 12-288,-10 15-128,-5 10 208,-12 4 112</inkml:trace>
  <inkml:trace contextRef="#ctx0" brushRef="#br0" timeOffset="24">3314 3650 1408,'5'-7'544,"-10"-4"-416,5-6 136,0 6 32,-4-6-32,0-10 24,4-5-72,-4-14-16,-7-9-112,-2-16 16,1-9 24,-3-7 8,-2 1-8,-2-16 24,3-10 16,0 0-88,5 1-48,4 13-160,7 1-80,0 12-984,4 17-424,-4 4 816</inkml:trace>
  <inkml:trace contextRef="#ctx0" brushRef="#br0" timeOffset="25">5527 3478 1888,'0'0'720,"-6"-5"-560,1 3 104,1-6 8,0 1-56,-9-1-8,1-7-48,-6-6-16,-5-7-80,-12-9 8,-1-7 16,-8-14 16,-2-9 24,-2-12-72,-4-23-16,-8-18-24,-2-5-16,5 2 8,0-3-8,13 0-304,-3 9-112,11 2 208,5-8 104</inkml:trace>
  <inkml:trace contextRef="#ctx0" brushRef="#br0" timeOffset="26">10003-1166 3559,'-22'-13'9,"-43"-27"-1,-11 7-8,-11 12-16,-9 10-8,-10 15 16,-10 13 0,-13 21 8,8 9 0,-5 11 0,8-6 16,-4-4 8,7 2 24,3-10 8,10-3 24,1-9-24,10-3-16,7-7-16,5-7 0,7 0-16,3 0-8,8 6-16,-2 9-8,5 17-8,-8 16 24,8 19-16,-2 5 8,2 19 16,0 17 0,10 0 0,8-4 0,-2-3 0,9-6 0,4-12 0,12-2 16,1-19-8,6-9 16,10-13-16,5-4-8,8 3-16,6-6-8,5 2-8,8 13 24,0 27-16,5 20 8,-4 5 0,10 27 0,8 9 16,-1-3 0,7-18 0,1-9 16,11-14-8,10-16-8,1-17 8,2-12-8,3-19 16,3-7 8,3-15-8,11-6 8,-2-11-32,-2 5 0,1-2 8,5 11 0,6 13 0,4 11 0,-13 2-24,11 4 16,-8 3 8,10-7 16,-4-7-8,-2-12 16,5-25 32,-3-15 32,11-12-48,-3-9-8,1-25 0,-1-1 0,-5-2-16,-5 8-16,-17 13-16,-4 20 8,-11 16 24,-1 19 24,-2 10 16,9 3 8,-5 13-16,5-2 8,1-14 16,-7-12 40,4-12-104,10-23-32,0-18 56,6-15 48,4-10-48,-6-11-16,3-10-88,-5-8-32,-9 6 88,-3 7 56,-11 7-8,-11 12 0,-8 14-56,-16 12-16,-3 18 80,-6 12 56,-5 6-32,0 3-16,-1-1-8,-8-1 8,3-16 8,1-15 24,1-27-80,0-23-16,2-9-152,-8-17-56,-2-15 120,-2-1 64,-2 7 24,-4-9 8,-4-2 8,-10 6 0,4 23 64,-8 10 56,0 0 16,-1 12-8,-2-1-16,3 10-8,-6 8-8,1 6 16,-3 7-24,-3 15 8,-2 2-56,-6 1-24,1 6-48,-3 6 0,13 4-56,-31-18-8,9-7-16,-2-6-8,3-13-8,-4 2 16,-7 3 8,2-3 24,4-1 48,-11 10 32,3 3 8,0 1 16,1 5-32,8 6 0,-3 4-8,-2 6 0,5 5-24,0 10 8,0 7 16,-2 4 8,5 9 24,1 2 24,4 0-16,3-10-16,-2 3 16,6-4 0,-2-4-80,-1 3-40,-3-5 24,-2 6 24,-4 0 8,-3 7 8,-3 4 0,-6 8 24,6-2 0,-1 0 8,0-2 0,-8 0 16,4-4-8,1-5-8,-6-2 8,2 3 8,-4 8-136,-1 9-48,-1 14-328,-2 16-120,-5 14 304,6 7 160</inkml:trace>
  <inkml:trace contextRef="#ctx0" brushRef="#br0" timeOffset="27">9937-487 1952,'-21'-13'744,"12"9"-576,3 4-48,6 4-64,-4-2-144,4 3-40,0 1-448,4 5-200,-2 0 400,7 0 184</inkml:trace>
  <inkml:trace contextRef="#ctx0" brushRef="#br0" timeOffset="28">10093-36 2240,'-8'0'856,"4"0"-664,4 4-56,0-4-56,0 0-72,0 0 16,0 0-32,-5-4 0,5 4-16,-1 4 16,-4 3 8,5 5 0,0 7-24,0 2 16,5 0 8,-4 0 0,8-2 0,-1-2 16,2-9 8,0 3 24,2-7 48,-4-4 32,6-10 24,-1-9 24,-2-3-80,-3 1-32,0-5-64,2 4 0,-6 5 0,0 5 0,-2 1-24,2 15 0,0 4 16,3 7-16,-3 3 8,4-1 16,2 5 0,-5-5 0,6 2 16,-1-8-8,4-4 16,1-8 16,2-5 16,-5-9 40,3-3 24,-2-7-88,1-3-8,-6-5-24,-2 1 0,3 5 0,-9 3 0,3 3 0,2 6 0,0 8 16,-1 7 8,0 7-96,0 12-32,0 1 48,2 9 48,-5-4-8,3 1-8,5 0 16,-1-5 16,1-7 0,0-7 16,-2-7-16,0-3 16,8-8 32,-4-4 32,3-6-48,-4 2-8,-4-2-16,3 3-16,-1 3 8,-1 4 8,1 8-96,-4 6-24,5 4 32,-5 8 32,0 3 16,6 3 8,-9-5 0,8 1 0,-1-1 136,1-6 56,1-3-192,3-3-88,-1-8 104,-2-7 88,2-2-40,-1-6-16,3-4-48,-7-4 8,2 4 8,-3 6 16,-2 2-8,6 19-96,0 7-16,2 2 32,9 9 32,0-1-248,10 1-128,1-6 176,10-12 104</inkml:trace>
  <inkml:trace contextRef="#ctx0" brushRef="#br0" timeOffset="29">9904 1080 2080,'8'-20'768,"0"15"-600,6-1-24,-6 2-48,-1 0-56,7 0 0,1 2-8,0-3 0,5 5-16,1 0-16,-2 5 24,3-3-16,0 6-8,-1-4 8,-5 12-8,1-1-24,-3 0 16,-7 2-8,-7-1-16,-6 2 0,1 1 24,-9-2 0,1-6 8,5 4 0,-4-4 16,1-5 24,-2 2 16,4-5-8,4 1-8,5 0-24,0-1-16,5 1 8,7 2 8,6 1-8,-3 1-8,2 3 8,5 4-8,-3 0 0,2-1 0,0 4 0,-3-1 0,-8 2 0,-4-2 0,-3-2 16,-6 0 8,-3-1 40,-4 0 24,-8-3-16,-3-1 16,0-3-16,-2-2 0,1-5-40,1-5-8,0-2-24,0 1-24,6-5-144,3 0-72,3-7 128,9 0 48</inkml:trace>
  <inkml:trace contextRef="#ctx0" brushRef="#br0" timeOffset="30">10396 1190 1440,'-3'-4'544,"3"0"-416,-4 8-40,4-4-48,0 0 8,0 0 48,0 0 0,0 0 8,4 4-56,-4-1 24,3 5 8,7-2-24,-6 1-16,4-3-16,-4 0-24,3-1 24,-3-3 0,1-3 40,0-1 40,-2-2 32,-3 0 16,0-7-48,0 6-24,-3 3-40,3 4-16,-10-4-376,5 4-168,-5 0 264,2-4 144</inkml:trace>
  <inkml:trace contextRef="#ctx0" brushRef="#br0" timeOffset="31">10512 1380 1120,'-4'3'440,"4"-3"-344,-2 4-24,2 0-40,-5-1-32,1 1 0,0 0 48,1-1 48,-4 1-48,7-1 168,-5 4 72,2-3-24,-3 0-16,6 6-120,0-5-40,0 0-56,0-3-8,0 0-24,0 3-8,6-2 24,-3-3 24,2 0 16,2-3 8,-4-2 16,1 3 8,0-5-8,-4 2-8,0 5-8,-4-7 0,4 7-16,-7-3 8,-5 3-32,3 3 0,4 4-8,-4-2-16,0 4-16,6-1 8,3-1-384,0-3-152,12-15 288</inkml:trace>
  <inkml:trace contextRef="#ctx0" brushRef="#br0" timeOffset="32">10828 1437 2016,'0'0'744,"5"-7"-576,3 5-32,-3-2-40,-1-4 0,0-3 32,3 0 8,-3-2-8,0-6-64,-4 0 48,0-8 24,0 0 80,-4-9 48,0 2-192,1-3-88,-1 1-32,0 8 24,4 6 64,-4 10 40,4 4-64,0 16-16,0 14-8,4 11 16,4 10 0,-1-3 16,6 10-88,3 0-16,-1 1-488,5 4-224,3-12 408,1-15 192</inkml:trace>
  <inkml:trace contextRef="#ctx0" brushRef="#br0" timeOffset="33">8253-339 1984,'-5'-17'744,"1"16"-576,4 1-64,0 0-80,4 1-56,1 9 24,-5-3 16,9 8 16,-1 7-8,0 2 8,-5 8 0,5 4 8,1 5 16,2 9-8,-3 4 0,0-4-24,6-2-16,-8-2-32,2-2-16,3-5-544,-7-6-240,-4-7 424</inkml:trace>
  <inkml:trace contextRef="#ctx0" brushRef="#br0" timeOffset="34">8265-295 2240,'-13'-32'832,"1"19"-648,8-2-16,-2 10-56,6-6-64,0 0-8,0-3-8,0-7 0,6 4-16,-2 1 24,4-2 8,1 0 32,3 0 8,3-1-40,5 6-16,10 2-16,-1 3-16,1 8 8,2 8-8,-4 5-24,1 9 16,-4 7 8,-7 4 0,-7-1-24,-2-1 16,-9 1 8,-9 0 16,-2-4-8,-7 1-8,-11-4 8,-9-2-8,4-2 0,1-3 16,-2 4-8,1-15-8,4 5-32,4-6-16,0 2-120,8-4-32,0-4 104,10-4 48</inkml:trace>
  <inkml:trace contextRef="#ctx0" brushRef="#br0" timeOffset="35">8572 257 1408,'-5'8'528,"4"-12"-416,-3 4 112,4 0 24,0 0-56,-6-4 0</inkml:trace>
  <inkml:trace contextRef="#ctx0" brushRef="#br0" timeOffset="36">8552 247 3152,'-2'-11'160,"-3"-10"-32,1 2-24,0-9 8,0 2-8,4 2 0,0-2-56,4 3-16,0 2-16,5 3-16,-3 5-16,4 2 8,4 3 8,3 2 0,-2 1 0,4 5 0,-4 0-24,-1 0 16,4 5 8,-7-2 0,4 0 0,-2 5 0,-1-1 0,-5 4 0,2-5-24,-5 9 16,4 2 8,-4 1 0,0 7 0,-4-10 0,0 3 0,-4 0 0,0 0 0,-4-2 0,4 4 0,-1-4-24,5 5 16,5-11 8,-1 1 16,4-6-8,0 5 16,3-10-16,2 0-8,2-10-240,0 2-104,-1-7 176,0 1 80</inkml:trace>
  <inkml:trace contextRef="#ctx0" brushRef="#br0" timeOffset="37">8956 16 1120,'-4'0'440,"4"3"-344,0 5-240,0-5-112,0 1 24,-4-1 32,1 0 240,-1 4 104,0 2 240,0-3 112,4 1-96,0-3-40,0 2-120,4 6-48,4-5-112,-1 1-16,6-1 16,3-3 0,2-4 16,3-4-32,-2-3 0,1-5-8,-1 2 8,-7-5-16,2 2 8,-6-6-16,-8 1 0,-5 1-24,-2 2-16,-7 7-32,0 1 0,-5 7-24,4 7 16,-7 1 8,5 11-8,6 5 32,0 4 16,3 5 0,4 0-8,4-5 24,8-1 16,4-6 0,2-1 0,12-9-8,6-5 0,1-6-56,6-6 0,4-14-384,-7-6-160,-4-3 288,-6-7 152</inkml:trace>
  <inkml:trace contextRef="#ctx0" brushRef="#br0" timeOffset="38">9345 31 1888,'-7'-3'704,"3"-1"-552,11 0-40,-7 4-40,0-3-48,0-5 8,4 1 0,0-3 16,0-1-24,0 3 40,1-3 32,-1-2 40,1 7 16,-1 6-80,-2 4-24,6 3-32,1 8-16,0 2 8,-3 4-8,2 0 0,-1 3 0,-3-3 0,0 1 16,-1-6-8,-3-3 16,0-2-16,0-4-8,0 0 24,-3-3 16,3-4-16,0-4-16,0-7 0,0-3 8,3-3 8,1-6 8,4 2 0,1-1 0,-2 5-16,2 2-16,5 4-16,-1 5 8,-2 6-8,1 6 0,-4 5 0,1 4 0,0 6 0,-3-3 0,-2-1 16,3-2 0,-3-3 0,0-5 16,6-7 8,-2-7-8,-1-8 8,-1-7-16,2 0 16,6-2-16,-2-2-8,-5 4 8,4 0-8,3 9-24,-6 2 16,-1 3-8,3 8 0,-3 8 16,1 5 0,2 6-24,-6 5 16,2-3 8,-4 3 0,2-3 0,0-3 16,1-4-8,-1-3-8,4-11 24,2-3 0,0-12-8,3 1 8,0-4-16,-3-3-8,-1-5-16,-1 7 8,-1-2 8,2 4 0,-1 6-40,-4 3 8,-2 8 0,0 8-8,7 5 8,-1 6 0,0 0 0,2 9 24,-4 0-16,3-2-8,-2-9 24,7-2 0,-3-11-104,4-11-40,-1-12 80,4-13 32</inkml:trace>
  <inkml:trace contextRef="#ctx0" brushRef="#br0" timeOffset="39">8101 1145 1568,'0'0'592,"-4"-3"-464,4 3-16,0 0-24,0 0-16,0-3 16,4-2 24,-4-1 16,0 1-72,-4-5 16,-7 3 32,0-4 16,-1 6 24,-5-2-64,-2 3-24,-8 4-32,4 4-24,-5 3 8,-6-2-8,2 11 0,7 1 0,-3 4-24,2 7 16,8-9 8,8 3 0,6-5 0,4-2 0,10-2 0,12-2 0,7-3 0,6-1 16,6 1 8,6 3 8,2-4-16,4 5-16,-1-2 8,-12 1 8,1 3-8,-9 0-8,-3 4 8,-11 3-8,-7 6 0,-3-3 16,-8-1 24,-8-2 16,-3 4 24,-7-8 32,-3-2-48,-6-5 0,-5-4-16,2-3-8,6-3-24,-8-3-16,9-3-16,2 0-8,0-5-112,9-2-48,8 2-608,4-4-264,8-1 544</inkml:trace>
  <inkml:trace contextRef="#ctx0" brushRef="#br0" timeOffset="40">8564 1437 864,'7'5'328,"-7"-5"-256,0 0 120,0 0 56,-5 0 72,0 0 48,-5-1-64,0-3-24,-2-3-152,-3 5 8,-5-2 24,1 0-72,-3 0-8,-2 4-64,1 0-16,5 4 0,-3 4 0,2 5-24,5-5 16,0 6-8,10 7 0,4 5 16,4 1 0,10 4 16,0-6 24,15 0 0,0-2 16,0-2-32,11-4 0,-4-9-432,3-8-184,-6-11 280,6-15 152</inkml:trace>
  <inkml:trace contextRef="#ctx0" brushRef="#br0" timeOffset="41">8909 1531 1344,'0'6'504,"0"-6"-392,0 5-16,0-5-32,0 0 56,-1-7 56,-5-2 48,2 0 24,-4-2-128,-3 0 32,2 0 32,4 1-80,-5 3-32,-2 3-48,1 4-24,-6 8-16,6 3 8,-1 2 8,1 9 0,4 3 0,3 4 0,-1-7 0,5 6 0,5-8 16,1 1 8,4-11 8,4-3 16,-2-10 8,4-5 24,-1-8-24,3 0 8,-4-9-40,1 0 0,-3 3-8,-5 0 8,2 2-16,-5 8-8,-2 1-16,-2 7 8,4 9 8,1 16 0,-1 0-24,0 8 16,3 0 8,1 2 0,5-5 0,-1-4 16,3-7-48,1-11-8,4-15-360,1-13-128,-3-12 264,1-5 136</inkml:trace>
  <inkml:trace contextRef="#ctx0" brushRef="#br0" timeOffset="42">9161 1044 1984,'-15'-42'744,"7"36"-576,-1 1 88,9 5 24,-2 0-120,-3 6-24,1 9-64,4 10-32,0 11-16,0 3 0,4 5 0,1 6-8,-3-3 8,7 8-16,-1-1 16,3-1-16,-3-6-8,3-9-48,2-3-8,-2-14-192,0-6-72,1-15-560,1-11-224,2-8 568</inkml:trace>
  <inkml:trace contextRef="#ctx0" brushRef="#br0" timeOffset="43">9334 1402 1760,'0'13'680,"0"-5"-528,0 10 112,0-12 16,0 3-56,4 1-16,3 1-64,-3-4-24,9-3-72,0-4 0,-3-4 8,4-3-8,-4-4 8,-1-4-16,1 5 0,-6-12-48,-4 7 8,-4 2-16,-6 2 0,-1 3-24,-2 5-8,-4 3-16,6 7 16,-6 8 32,6 9 24,-1 8 0,5 2-8,7 5 8,0 1 8,5-12 8,1 2 8,9-12-16,6-3-16,7-9-120,6-13-56,1-17-744,5-3-328,1-5 640</inkml:trace>
  <inkml:trace contextRef="#ctx0" brushRef="#br0" timeOffset="44">9726 3567 1600,'0'-3'616,"0"-2"-480,-2 0 104,2 5 24,-4-6-32,-6 0 8,3-1-72,-4-4 0,-2-3-96,0 0 8,-4-5 8,-2 2-32,-6 1 8,3-2-40,-6-1-16,0 6-24,1 2 8,-2 7-32,6 8 8,-1 7 0,-1 7-8,1 7 8,-2 1 24,8 14-16,-2 9 8,5 13 0,3 10 0,2 0 16,10 4 0,6-7 0,6 4 0,7-5 16,5-2 8,4-10 8,8-5 0,4-12-16,4-14 8,4-7 0,4-6 8,-5-12-40,2-12-8,-2-6-432,-6-3-184,-5 0 320,-6-9 152</inkml:trace>
  <inkml:trace contextRef="#ctx0" brushRef="#br0" timeOffset="45">9958 3904 2592,'-10'-21'984,"10"14"-760,6 7-104,-2 0-80,4 7-96,-1 7 0,7 8-8,-6 4 16,5 6 32,-1 4-8,-3 11 8,1 4 16,-1-4 0,0 3 0,0-11 0,-1-10-40,-1-5 8,-3-9-88,0-7-48,-4-12 72,-4-15 56,-6-9 8,1-4 0,-5-11 56,-3-4 24,2-4 80,-2-13 56,5-1-48,-2-8 8,10 12-56,4-1-8,8 6-32,3 5 8,9 10-32,3 5 0,8 7-8,-4 4-16,5 6 8,-2 9-8,2 7-40,2 6 8,-6 7 0,-2 9 16,-5 6-8,-5 7-8,-4 4 0,-8 0 24,-8-2 0,-4-2 24,-6-8 24,-4-4 32,-4-4 0,3-5 16,-9-10-32,4-1 8,4-1-56,0-8-8,2-2-264,6 3-120,1-7 192,7-2 96</inkml:trace>
  <inkml:trace contextRef="#ctx0" brushRef="#br0" timeOffset="46">10414 4367 1952,'-14'7'720,"10"-7"-560,0-4 64,4 4-16,-4-9-24,0 3 8,0-5-16,4-4 8,-2-2-104,-2-6 8,-6-1 16,6-2-40,0-3-16,0 3 64,4-1 40,0 8-96,0 2-32,4 6-32,0 10-24,5 2 0,0 17 0,1 11-16,-2 21-8,10 1 32,-4 9 8,8-1-184,2-6-80,3-6-688,-3-14-304,-2-9 672</inkml:trace>
  <inkml:trace contextRef="#ctx0" brushRef="#br0" timeOffset="47">10016 3929 2272,'-4'-11'856,"8"4"-664,14-7-56,-13 2-72,17-5-120,2-8-24,8-16 48,-3 1 8</inkml:trace>
  <inkml:trace contextRef="#ctx0" brushRef="#br0" timeOffset="48">8616 3204 2240,'-11'-25'856,"14"13"-664,24-2-128,-13 7-88,15-4-32,0 1 24,13-5 40,1 0 32,8 0-16,15 7-16,6-1 16,6 2 72,9 3 56,11-4-48,7 5 0,13 3-40,-8-4 0,5 4-40,-4 0 0,-2 4 8,-1 3 16,-7 1-8,-15 8 0,-6-4-24,-7 7-16,-11-2 24,-6 5 0,-2 0-8,-13-5 8,-3 0-16,-7 4 16,-7 5-16,-5 1 16,-4 12-16,-2-7-8,-1 9-16,-5 2 8,2 1 8,-1 10 16,3 2-24,-3-1 0,-1 0 8,1 8 16,2-3-8,0 5-8,1 2 8,4 3-8,6 5-24,-2 2 16,6 1 8,0-13 16,-4-7-8,2-8 16,-1-13-16,-8-4-8,0-8 72,0-5 32,-7-4-88,-3 0-40,-4-4 56,-4-3 48,-7 2-32,-9 5-8,-3-4-24,-17 1 8,-6-2-32,-19 0 0,-8 1 8,-17-2 16,-17-1-8,-20-7 16,1 2-16,-5 0-8,-9-1 8,2 1 8,2 3-8,5 3-8,4 1-16,9-4 8,20-3-256,11-4-104,14-11 184,17-6 88</inkml:trace>
  <inkml:trace contextRef="#ctx0" brushRef="#br0" timeOffset="49">10097 3135 1984,'6'6'744,"-6"-15"-576,4 2 24,0 1-40,3-10-48,0-3 0,-2-9-24,4-6-8,-5-10-40,0-13 48,-4-12 40,0-6 136,-4-7 72,-5 9-240,0 5-96,6 6 32,-1 7 32,-1 4-16,5-13-24</inkml:trace>
  <inkml:trace contextRef="#ctx0" brushRef="#br0" timeOffset="50">11778 3781 1696,'4'-7'656,"0"6"-512,10 1-600,-8-4-312,-2-1 360,7-1 200</inkml:trace>
  <inkml:trace contextRef="#ctx0" brushRef="#br0" timeOffset="51">11942 3670 1408,'10'-6'544,"-4"-3"-416,-2 8 64,-4 1 16,0-10 0,0 5 16,-4 2-16,-2-5 8,-4 2-120,-5-1 0,-1-1 8,0 1-8,-5-4 24,1 4-64,-7 6-16,0 1-40,-4 6-8,4 7 8,6 13 0,-5 7 0,6 14 0,4 5 16,9 4 8,3-2 8,8-4 16,7-3 24,11-6 40,4-7 8,9-4 24,10-9-96,9-3-32,-4-18-152,8-11-72,3-10-632,-1-7-288,-1-19 584,-5-11 272</inkml:trace>
  <inkml:trace contextRef="#ctx0" brushRef="#br0" timeOffset="52">12299 3522 2464,'-7'-5'920,"7"3"-712,3 9-80,-3-3-88,4 2-72,2 7 24,2 11 0,0 4 24,1 8-8,-3 7 16,7 5 16,2 9 0,-8 2 16,5-8-32,-6 3 0,5-7-8,-2-4 8,0-7-56,-6-8-8,-3-10-40,3-13 8,-3-5 0,-3-11 8,-4-11-16,-7-11 8,-1-10 24,-3-8 8,-4-10 40,7 0 32,-2-5 24,3 10 24,10 5-8,4 10 0,4 2-8,10 2 0,5 4 0,5 5 16,3 3-8,4 10 0,1 4-40,-1 3-24,1 8 0,-1 5-8,-5 5-24,3 1 16,-1 1 8,-9 7 0,-4 5 0,-5 4 0,-1 6-24,-9 1 16,-9-3 24,2-1 8,-5-5-8,-2-9-16,-1-4 8,-9-2-8,1-5-88,3-6-24,1-2-352,2-6-136,6 1 312,4-2 144</inkml:trace>
  <inkml:trace contextRef="#ctx0" brushRef="#br0" timeOffset="53">12699 3929 2176,'-12'-9'808,"12"3"-624,0 3-40,0 3-56,4 0-40,4-4 8,5 4-8,-1-4 8,3 4-32,-1 0 0,1 8 24,2-1-24,-2 4-16,0 4 0,-1-1-8,0 4 0,-4-4 0,-1 8 0,-5 3 0,-4 1 0,0-1 0,-8 2 0,3-8 16,-1-1 40,2-2 32,0 0 16,-1-4 24,5-6 48,9 1 32,1-3-152,12 0-40,8-4-24,3-4 0,13-7-224,5-7-104,6-9 152,9-3 96</inkml:trace>
  <inkml:trace contextRef="#ctx0" brushRef="#br0" timeOffset="54">11361 3199 2176,'-8'-14'832,"8"10"-648,0 8-64,0 0-72,4 6-64,5 10 0,-1 12-24,-1 18-8,-2-3 24,5 10 64,-2 12 32,1 17 0,3 13 16,-1 1-16,6 0 0,-5 2-24,6-7 8,-5-6 0,2-2 8,-4-15-16,1-6-8,1-15-24,-1-4 8,-2-9-16,-2-8 16,2-6 0,-3-9 8,-3-7 0,10-4 0,2-4-16,0 0-16,3 0 8,3 0-8,0 0 0,4 0 16,5 0 8,5 0 8,8 0-16,3 0 8,4-5-16,7-2 16,11-6 72,4 7 56,11 0-152,-1-8-64,8 3 56,7 1 48,-1-1-48,12 3-8,-6 1 8,3 3 0,-7 1-16,-1 3 16,-2 0 56,-4 3 32,-13 1-8,-3 0 16,-24-4-32,-5 3-16,-5-3-40,-15 0-16,-21-14-1104,-17-13 608,-22-22 208</inkml:trace>
  <inkml:trace contextRef="#ctx0" brushRef="#br0" timeOffset="55">11476 3152 1696,'0'-5'632,"4"0"-488,4 4-8,-4-5-40,6 3 0,6 1 24,6-7 56,8-2 32,7 1-112,13-6 72,10 6 16,14-1-24,5 3-8,14-3-72,8 4-16,5 7-32,1-3-8,2 3-8,0 0 8,-5 0-32,5 0 0,-5 3 24,-6 2 8,-9-3 80,-8 6 48,-2-4-168,-12 7-56,-9 0 72,-14 0 72,-12 0-48,-3-1-8,-4 5-32,-7 1 0,-6 0 0,-3 8 0,-5 5 16,0 7 0,-4 8 0,0 7 16,0 10-8,0 15-8,0 22 8,0 7-8,2-1 0,5 8 0,2-3 0,1-5 0,3-7-40,2-15 8,2-10 0,-4-14 16,-2-15-384,-3-16-144,0-12 272,-16-51 152</inkml:trace>
  <inkml:trace contextRef="#ctx0" brushRef="#br0" timeOffset="56">12289 3034 2080,'-16'-8'768,"9"8"-600,-8-3 48,6 0-32,-4-4-16,-1-4 32,-6-4-32,-6-4-8,4-8-88,-4-4 24,-9-16 16,-5-13 48,-6-8 16,-2-8-56,-9 4-32,2-11-48,-6-15-16,3-7-224,0-6-96,-14-41 144,-36-21 72</inkml:trace>
  <inkml:trace contextRef="#ctx0" brushRef="#br0" timeOffset="57">8609 3199 2432,'-7'-14'920,"3"3"-712,8 4-80,-4 7-72,4 0-72,-1 0-16,1 7 0,7 8 24,-4 14 0,3 14-16,-1 10 16,2 2 8,11 13 16,-2 11 8,2 26 8,-1-3-16,4 9 8,-6 5 0,4 0 24,-3-5-8,-1-13 0,-1-7-24,7-13 8,-10-16-56,-1-12 8,4-13-448,-8-11-184,4-13 312,-10-19 168</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6C3F66-E55F-4685-98C4-38B2E7D4625C}" type="datetimeFigureOut">
              <a:rPr lang="en-IN" smtClean="0"/>
              <a:t>09-06-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8FDDD8-0BE7-4B08-B473-EF9CAB811427}" type="slidenum">
              <a:rPr lang="en-IN" smtClean="0"/>
              <a:t>‹#›</a:t>
            </a:fld>
            <a:endParaRPr lang="en-IN"/>
          </a:p>
        </p:txBody>
      </p:sp>
    </p:spTree>
    <p:extLst>
      <p:ext uri="{BB962C8B-B14F-4D97-AF65-F5344CB8AC3E}">
        <p14:creationId xmlns:p14="http://schemas.microsoft.com/office/powerpoint/2010/main" val="20705441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06C5A2-412B-4BA5-BE73-6FB7E9BED990}" type="slidenum">
              <a:rPr lang="en-US" smtClean="0"/>
              <a:t>2</a:t>
            </a:fld>
            <a:endParaRPr lang="en-US"/>
          </a:p>
        </p:txBody>
      </p:sp>
    </p:spTree>
    <p:extLst>
      <p:ext uri="{BB962C8B-B14F-4D97-AF65-F5344CB8AC3E}">
        <p14:creationId xmlns:p14="http://schemas.microsoft.com/office/powerpoint/2010/main" val="23828575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E8FDDD8-0BE7-4B08-B473-EF9CAB811427}" type="slidenum">
              <a:rPr lang="en-IN" smtClean="0"/>
              <a:t>20</a:t>
            </a:fld>
            <a:endParaRPr lang="en-IN"/>
          </a:p>
        </p:txBody>
      </p:sp>
    </p:spTree>
    <p:extLst>
      <p:ext uri="{BB962C8B-B14F-4D97-AF65-F5344CB8AC3E}">
        <p14:creationId xmlns:p14="http://schemas.microsoft.com/office/powerpoint/2010/main" val="6426550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dirty="0"/>
              <a:t>Hardware failure </a:t>
            </a:r>
          </a:p>
          <a:p>
            <a:pPr marL="171450" indent="-171450">
              <a:buFont typeface="Arial" panose="020B0604020202020204" pitchFamily="34" charset="0"/>
              <a:buChar char="•"/>
            </a:pPr>
            <a:r>
              <a:rPr lang="en-IN" dirty="0"/>
              <a:t>Build redundancy into the application by deploying components across different fault domains. For example, ensure that Azure VMs are placed in different racks by using Availability Sets. </a:t>
            </a:r>
          </a:p>
          <a:p>
            <a:pPr marL="0" indent="0">
              <a:buFont typeface="Arial" panose="020B0604020202020204" pitchFamily="34" charset="0"/>
              <a:buNone/>
            </a:pPr>
            <a:r>
              <a:rPr lang="en-IN" dirty="0" err="1"/>
              <a:t>Datacenter</a:t>
            </a:r>
            <a:r>
              <a:rPr lang="en-IN" dirty="0"/>
              <a:t> failure </a:t>
            </a:r>
          </a:p>
          <a:p>
            <a:pPr marL="171450" indent="-171450">
              <a:buFont typeface="Arial" panose="020B0604020202020204" pitchFamily="34" charset="0"/>
              <a:buChar char="•"/>
            </a:pPr>
            <a:r>
              <a:rPr lang="en-IN" dirty="0"/>
              <a:t>Build redundancy into the application with fault isolation zones across </a:t>
            </a:r>
            <a:r>
              <a:rPr lang="en-IN" dirty="0" err="1"/>
              <a:t>datacenters</a:t>
            </a:r>
            <a:r>
              <a:rPr lang="en-IN" dirty="0"/>
              <a:t>. For example, ensure that Azure VMs are placed in different fault-isolated </a:t>
            </a:r>
            <a:r>
              <a:rPr lang="en-IN" dirty="0" err="1"/>
              <a:t>datacenters</a:t>
            </a:r>
            <a:r>
              <a:rPr lang="en-IN" dirty="0"/>
              <a:t> by using Azure Availability Zones. </a:t>
            </a:r>
          </a:p>
          <a:p>
            <a:pPr marL="0" indent="0">
              <a:buFont typeface="Arial" panose="020B0604020202020204" pitchFamily="34" charset="0"/>
              <a:buNone/>
            </a:pPr>
            <a:r>
              <a:rPr lang="en-IN" dirty="0"/>
              <a:t>Regional failure </a:t>
            </a:r>
          </a:p>
          <a:p>
            <a:pPr marL="171450" indent="-171450">
              <a:buFont typeface="Arial" panose="020B0604020202020204" pitchFamily="34" charset="0"/>
              <a:buChar char="•"/>
            </a:pPr>
            <a:r>
              <a:rPr lang="en-IN" dirty="0"/>
              <a:t>Replicate the data and components into another region so that applications can be quickly recovered. For example, use Azure Site Recovery to replicate Azure VMs to another Azure region. </a:t>
            </a:r>
          </a:p>
          <a:p>
            <a:pPr marL="0" indent="0">
              <a:buFont typeface="Arial" panose="020B0604020202020204" pitchFamily="34" charset="0"/>
              <a:buNone/>
            </a:pPr>
            <a:r>
              <a:rPr lang="en-IN" dirty="0"/>
              <a:t>Transient failure </a:t>
            </a:r>
          </a:p>
          <a:p>
            <a:pPr marL="171450" indent="-171450">
              <a:buFont typeface="Arial" panose="020B0604020202020204" pitchFamily="34" charset="0"/>
              <a:buChar char="•"/>
            </a:pPr>
            <a:r>
              <a:rPr lang="en-IN" dirty="0"/>
              <a:t>Retry transient failures. For many Azure services, the client software development kit (SDK) implements automatic retries in a way that’s transparent to the caller. </a:t>
            </a:r>
          </a:p>
          <a:p>
            <a:pPr marL="0" indent="0">
              <a:buFont typeface="Arial" panose="020B0604020202020204" pitchFamily="34" charset="0"/>
              <a:buNone/>
            </a:pPr>
            <a:r>
              <a:rPr lang="en-IN" dirty="0"/>
              <a:t>Dependency service failure </a:t>
            </a:r>
          </a:p>
          <a:p>
            <a:pPr marL="171450" indent="-171450">
              <a:buFont typeface="Arial" panose="020B0604020202020204" pitchFamily="34" charset="0"/>
              <a:buChar char="•"/>
            </a:pPr>
            <a:r>
              <a:rPr lang="en-IN" dirty="0"/>
              <a:t>Degrade gracefully if a service fails without a failover path, providing an acceptable user experience. </a:t>
            </a:r>
          </a:p>
          <a:p>
            <a:pPr marL="0" indent="0">
              <a:buFont typeface="Arial" panose="020B0604020202020204" pitchFamily="34" charset="0"/>
              <a:buNone/>
            </a:pPr>
            <a:r>
              <a:rPr lang="en-IN" dirty="0"/>
              <a:t>Heavy load </a:t>
            </a:r>
          </a:p>
          <a:p>
            <a:pPr marL="171450" indent="-171450">
              <a:buFont typeface="Arial" panose="020B0604020202020204" pitchFamily="34" charset="0"/>
              <a:buChar char="•"/>
            </a:pPr>
            <a:r>
              <a:rPr lang="en-IN" dirty="0"/>
              <a:t>Load balance across instances to handle spikes in usage. For example, put two or more Azure VMs behind a load balancer to distribute traffic to all VMs. </a:t>
            </a:r>
          </a:p>
          <a:p>
            <a:pPr marL="0" indent="0">
              <a:buFont typeface="Arial" panose="020B0604020202020204" pitchFamily="34" charset="0"/>
              <a:buNone/>
            </a:pPr>
            <a:r>
              <a:rPr lang="en-IN" dirty="0"/>
              <a:t>Accidental data deletion or corruption </a:t>
            </a:r>
          </a:p>
          <a:p>
            <a:pPr marL="171450" indent="-171450">
              <a:buFont typeface="Arial" panose="020B0604020202020204" pitchFamily="34" charset="0"/>
              <a:buChar char="•"/>
            </a:pPr>
            <a:r>
              <a:rPr lang="en-IN" dirty="0"/>
              <a:t>Back up data so it can be restored if there’s any deletion or corruption. For example, use Azure Backup to periodically back up your Azure VMs. </a:t>
            </a:r>
          </a:p>
          <a:p>
            <a:pPr marL="0" indent="0">
              <a:buFont typeface="Arial" panose="020B0604020202020204" pitchFamily="34" charset="0"/>
              <a:buNone/>
            </a:pPr>
            <a:r>
              <a:rPr lang="en-IN" dirty="0"/>
              <a:t>Application deployment failure </a:t>
            </a:r>
          </a:p>
          <a:p>
            <a:pPr marL="171450" indent="-171450">
              <a:buFont typeface="Arial" panose="020B0604020202020204" pitchFamily="34" charset="0"/>
              <a:buChar char="•"/>
            </a:pPr>
            <a:r>
              <a:rPr lang="en-IN" dirty="0"/>
              <a:t>Automate deployments with a rollback plan</a:t>
            </a:r>
          </a:p>
        </p:txBody>
      </p:sp>
      <p:sp>
        <p:nvSpPr>
          <p:cNvPr id="4" name="Slide Number Placeholder 3"/>
          <p:cNvSpPr>
            <a:spLocks noGrp="1"/>
          </p:cNvSpPr>
          <p:nvPr>
            <p:ph type="sldNum" sz="quarter" idx="5"/>
          </p:nvPr>
        </p:nvSpPr>
        <p:spPr/>
        <p:txBody>
          <a:bodyPr/>
          <a:lstStyle/>
          <a:p>
            <a:fld id="{FE8FDDD8-0BE7-4B08-B473-EF9CAB811427}" type="slidenum">
              <a:rPr lang="en-IN" smtClean="0"/>
              <a:t>21</a:t>
            </a:fld>
            <a:endParaRPr lang="en-IN"/>
          </a:p>
        </p:txBody>
      </p:sp>
    </p:spTree>
    <p:extLst>
      <p:ext uri="{BB962C8B-B14F-4D97-AF65-F5344CB8AC3E}">
        <p14:creationId xmlns:p14="http://schemas.microsoft.com/office/powerpoint/2010/main" val="3824347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kern="1200">
                <a:solidFill>
                  <a:schemeClr val="tx1"/>
                </a:solidFill>
                <a:effectLst/>
                <a:latin typeface="Segoe UI Light" pitchFamily="34" charset="0"/>
                <a:ea typeface="+mn-ea"/>
                <a:cs typeface="+mn-cs"/>
              </a:rPr>
              <a:t>Just in 2018, 28% of customers have experienced data loss and 40% have experienced an unplanned outage.  Just 2% of organizations recovered from their latest incident in under an hour. Azure’s overall availability has been trending up constantly and is now at over 99.999% reliability across the fleet. Microsoft’s cloud technology provides innovative features such as memory-preserving host updates and live migration. But more importantly, Azure provides a comprehensive set of built-in resilient services to recover from hardware failures, natural disasters and data loss. As a result, we see more customers enable their mission-critical workloads on Az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82" b="0" kern="1200">
              <a:solidFill>
                <a:schemeClr val="tx1"/>
              </a:solidFill>
              <a:effectLst/>
              <a:latin typeface="Segoe UI Light" pitchFamily="34" charset="0"/>
              <a:ea typeface="+mn-ea"/>
              <a:cs typeface="+mn-cs"/>
            </a:endParaRPr>
          </a:p>
          <a:p>
            <a:r>
              <a:rPr lang="en-US" sz="900" spc="0">
                <a:solidFill>
                  <a:srgbClr val="3C3C41"/>
                </a:solidFill>
                <a:latin typeface="Segoe UI"/>
              </a:rPr>
              <a:t>So we have seen how Resilience is not about avoiding any failure but bouncing back from one. Let’s look at some typical failures that may lead to a downtime for your application – </a:t>
            </a:r>
          </a:p>
          <a:p>
            <a:endParaRPr lang="en-US" sz="900" spc="0">
              <a:solidFill>
                <a:srgbClr val="3C3C41"/>
              </a:solidFill>
              <a:latin typeface="Segoe UI"/>
            </a:endParaRPr>
          </a:p>
          <a:p>
            <a:r>
              <a:rPr lang="en-US" sz="900" spc="0">
                <a:solidFill>
                  <a:srgbClr val="3C3C41"/>
                </a:solidFill>
                <a:latin typeface="Segoe UI"/>
              </a:rPr>
              <a:t>This trapezium shows the degree of impact that a failure can potentially cause. So while, a power or a network outage may impact a datacenter of a multiple data centers in a zone; something more catastrophic like a flood or earthquake can take down the entire region. All these failures primarily impact your infrastructure (which comprises of both applications and the data).</a:t>
            </a:r>
          </a:p>
          <a:p>
            <a:endParaRPr lang="en-US" sz="900" spc="0">
              <a:solidFill>
                <a:srgbClr val="3C3C41"/>
              </a:solidFill>
              <a:latin typeface="Segoe UI"/>
            </a:endParaRPr>
          </a:p>
          <a:p>
            <a:r>
              <a:rPr lang="en-US" sz="900" spc="0">
                <a:solidFill>
                  <a:srgbClr val="3C3C41"/>
                </a:solidFill>
                <a:latin typeface="Segoe UI"/>
              </a:rPr>
              <a:t>There’s one thing that is common across though, no matter what your deployment is (you can be running the entire set up in a single region vs spread across zones), you will most likely have data; data which is stateful; data which you would need to go back to.</a:t>
            </a:r>
          </a:p>
          <a:p>
            <a:r>
              <a:rPr lang="en-US" sz="900" spc="0">
                <a:solidFill>
                  <a:srgbClr val="3C3C41"/>
                </a:solidFill>
                <a:latin typeface="Segoe UI"/>
              </a:rPr>
              <a:t>The failures impacting this data look like these. And to draw a parallel, these too in some sense have varying degree of impact of these failures  on the data; while accidental deletion may lead to losing a file or folder; a rogue admin can wipe off not only your data but also your backups. </a:t>
            </a:r>
          </a:p>
          <a:p>
            <a:endParaRPr lang="en-US" sz="900" spc="0">
              <a:solidFill>
                <a:srgbClr val="3C3C41"/>
              </a:solidFill>
              <a:latin typeface="Segoe UI"/>
            </a:endParaRPr>
          </a:p>
          <a:p>
            <a:r>
              <a:rPr lang="en-US" sz="900" spc="0">
                <a:solidFill>
                  <a:srgbClr val="3C3C41"/>
                </a:solidFill>
                <a:latin typeface="Segoe UI"/>
              </a:rPr>
              <a:t>Thus, we need to build resilience against all these failure and the azure services can help us achieve just that.</a:t>
            </a:r>
          </a:p>
          <a:p>
            <a:endParaRPr lang="en-US"/>
          </a:p>
          <a:p>
            <a:r>
              <a:rPr lang="en-US" err="1"/>
              <a:t>Opt</a:t>
            </a:r>
            <a:r>
              <a:rPr lang="en-US"/>
              <a:t> for Premium storage that allows for 99.5% availability in case of a single VM deployment. </a:t>
            </a:r>
          </a:p>
          <a:p>
            <a:endParaRPr lang="en-US"/>
          </a:p>
          <a:p>
            <a:r>
              <a:rPr lang="en-US"/>
              <a:t>Up your Resilience game with High Availability structures; deploy your architecture in Availability sets or AZs to get SLA up to 99.99%. HA should be preferred for your mission critical apps which have very stringent RPO and RTO requirements (almost real time).</a:t>
            </a:r>
          </a:p>
          <a:p>
            <a:endParaRPr lang="en-US"/>
          </a:p>
          <a:p>
            <a:r>
              <a:rPr lang="en-US"/>
              <a:t>Go one step head to further isolate your VMs by making used of paired regions in azure. The recently previewed feature for storage account failover when configured for GRS also is a subset of this solution.</a:t>
            </a:r>
          </a:p>
          <a:p>
            <a:endParaRPr lang="en-US"/>
          </a:p>
          <a:p>
            <a:r>
              <a:rPr lang="en-US"/>
              <a:t>But none of them still covers you for data failures; and that’s because all of these deployments are almost constantly syncing data across; so if any data corruption happens and I need to go back in time to say a couple of days, I need to have backed-up that version. Hence, we have Backup.</a:t>
            </a:r>
          </a:p>
          <a:p>
            <a:r>
              <a:rPr lang="en-US"/>
              <a:t>	</a:t>
            </a:r>
            <a:r>
              <a:rPr lang="en-US" sz="1000" b="0" i="0" kern="1200">
                <a:solidFill>
                  <a:schemeClr val="tx1"/>
                </a:solidFill>
                <a:effectLst/>
                <a:latin typeface="Segoe UI Light" pitchFamily="34" charset="0"/>
                <a:ea typeface="+mn-ea"/>
                <a:cs typeface="+mn-cs"/>
              </a:rPr>
              <a:t> </a:t>
            </a:r>
            <a:endParaRPr lang="en-US" sz="882" b="0" kern="1200">
              <a:solidFill>
                <a:schemeClr val="tx1"/>
              </a:solidFill>
              <a:effectLst/>
              <a:latin typeface="Segoe UI Light" pitchFamily="34" charset="0"/>
              <a:ea typeface="+mn-ea"/>
              <a:cs typeface="+mn-cs"/>
            </a:endParaRPr>
          </a:p>
          <a:p>
            <a:endParaRPr lang="en-US" sz="1200" spc="0">
              <a:solidFill>
                <a:srgbClr val="3C3C41"/>
              </a:solidFill>
              <a:latin typeface="Segoe U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263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docs.microsoft.com/en-us/azure/architecture/framework/resiliency/reliability-patterns</a:t>
            </a:r>
          </a:p>
        </p:txBody>
      </p:sp>
      <p:sp>
        <p:nvSpPr>
          <p:cNvPr id="4" name="Slide Number Placeholder 3"/>
          <p:cNvSpPr>
            <a:spLocks noGrp="1"/>
          </p:cNvSpPr>
          <p:nvPr>
            <p:ph type="sldNum" sz="quarter" idx="5"/>
          </p:nvPr>
        </p:nvSpPr>
        <p:spPr/>
        <p:txBody>
          <a:bodyPr/>
          <a:lstStyle/>
          <a:p>
            <a:fld id="{FE8FDDD8-0BE7-4B08-B473-EF9CAB811427}" type="slidenum">
              <a:rPr lang="en-IN" smtClean="0"/>
              <a:t>23</a:t>
            </a:fld>
            <a:endParaRPr lang="en-IN"/>
          </a:p>
        </p:txBody>
      </p:sp>
    </p:spTree>
    <p:extLst>
      <p:ext uri="{BB962C8B-B14F-4D97-AF65-F5344CB8AC3E}">
        <p14:creationId xmlns:p14="http://schemas.microsoft.com/office/powerpoint/2010/main" val="1019705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0945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
                <a:ea typeface="+mn-ea"/>
                <a:cs typeface="+mn-cs"/>
              </a:rPr>
              <a:t>&lt;</a:t>
            </a:r>
            <a:r>
              <a:rPr lang="en-US" sz="1200" b="1" i="0" u="none" strike="noStrike" kern="1200">
                <a:solidFill>
                  <a:schemeClr val="tx1"/>
                </a:solidFill>
                <a:effectLst/>
                <a:latin typeface="Segoe "/>
                <a:ea typeface="+mn-ea"/>
                <a:cs typeface="+mn-cs"/>
              </a:rPr>
              <a:t>Key Point</a:t>
            </a:r>
            <a:r>
              <a:rPr lang="en-US" sz="1200" b="0" i="0" u="none" strike="noStrike" kern="1200">
                <a:solidFill>
                  <a:schemeClr val="tx1"/>
                </a:solidFill>
                <a:effectLst/>
                <a:latin typeface="Segoe "/>
                <a:ea typeface="+mn-ea"/>
                <a:cs typeface="+mn-cs"/>
              </a:rPr>
              <a:t>&gt;: Thank you</a:t>
            </a:r>
            <a:endParaRPr lang="en-US"/>
          </a:p>
          <a:p>
            <a:endParaRPr lang="en-US"/>
          </a:p>
        </p:txBody>
      </p:sp>
    </p:spTree>
    <p:extLst>
      <p:ext uri="{BB962C8B-B14F-4D97-AF65-F5344CB8AC3E}">
        <p14:creationId xmlns:p14="http://schemas.microsoft.com/office/powerpoint/2010/main" val="4691247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7617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9924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32956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0999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zure invests in platform resilience and complements those investments with the abovementioned offerings to ensure uptime for customers. Being resilient in the event of any failure, however, is a shared responsibility. Who’s responsible for what, in terms of resilience, depends on the cloud service model that’s being used—IaaS, PaaS, or SaaS</a:t>
            </a:r>
          </a:p>
          <a:p>
            <a:r>
              <a:rPr lang="en-IN" dirty="0"/>
              <a:t>In the traditional on-premises model, the entire responsibility of managing—from the hardware for compute, storage, and networking to the application—falls on the customer. That requires planning for various types of failures and knowing how to deal with them on-premises. With IaaS, Azure is responsible for the core infrastructure resilience, which includes storage, networking, and compute. As the model moves from IaaS to PaaS and then to SaaS, the customer is responsible for less and the cloud service provider is responsible for more. </a:t>
            </a:r>
          </a:p>
        </p:txBody>
      </p:sp>
      <p:sp>
        <p:nvSpPr>
          <p:cNvPr id="4" name="Slide Number Placeholder 3"/>
          <p:cNvSpPr>
            <a:spLocks noGrp="1"/>
          </p:cNvSpPr>
          <p:nvPr>
            <p:ph type="sldNum" sz="quarter" idx="5"/>
          </p:nvPr>
        </p:nvSpPr>
        <p:spPr/>
        <p:txBody>
          <a:bodyPr/>
          <a:lstStyle/>
          <a:p>
            <a:fld id="{FE8FDDD8-0BE7-4B08-B473-EF9CAB811427}" type="slidenum">
              <a:rPr lang="en-IN" smtClean="0"/>
              <a:t>5</a:t>
            </a:fld>
            <a:endParaRPr lang="en-IN"/>
          </a:p>
        </p:txBody>
      </p:sp>
    </p:spTree>
    <p:extLst>
      <p:ext uri="{BB962C8B-B14F-4D97-AF65-F5344CB8AC3E}">
        <p14:creationId xmlns:p14="http://schemas.microsoft.com/office/powerpoint/2010/main" val="25832671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0999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0999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esting for Resiliency</a:t>
            </a:r>
          </a:p>
          <a:p>
            <a:r>
              <a:rPr lang="en-IN" dirty="0"/>
              <a:t>Generally, you can’t test resilience in the same way that you test application functionality (by running unit tests and so on). Instead, you must test how the end-to-end workload performs under failure conditions which only occur intermittently. Testing is an iterative process. Test the application, measure the outcome, analyse and address any failures that result, and repeat the process</a:t>
            </a:r>
          </a:p>
          <a:p>
            <a:r>
              <a:rPr lang="en-IN" dirty="0"/>
              <a:t>Fault injection testing. Test the resilience of the system during failures, either by triggering actual failures or by simulating them. Here are some common failure scenarios to test: • Shut down VM instances. • Crash processes. • Expire certificates. • Change access keys. • Shut down the DNS service on domain controllers. • Limit available system resources, such as RAM or number of threads. • Unmount disks. • Redeploy a VM. Measure the recovery times and verify that your business requirements are met. Test combinations of failure modes as well. Make sure that failures don’t cascade and are handled in an isolated way. This is another reason why it’s important to analyse possible failure points during the design phase. The results of that analysis should be input into your test plan.</a:t>
            </a:r>
          </a:p>
          <a:p>
            <a:endParaRPr lang="en-IN" dirty="0"/>
          </a:p>
          <a:p>
            <a:r>
              <a:rPr lang="en-IN" dirty="0"/>
              <a:t>Load testing. Load testing is crucial for identifying failures that only happen under load, such as the backend database being overwhelmed or service throttling. Test for peak load, using production data or synthetic data that’s as close to production data as possible. The goal is to observe how the application behaves under </a:t>
            </a:r>
            <a:r>
              <a:rPr lang="en-IN" dirty="0" err="1"/>
              <a:t>realworld</a:t>
            </a:r>
            <a:r>
              <a:rPr lang="en-IN" dirty="0"/>
              <a:t> conditions. </a:t>
            </a:r>
          </a:p>
          <a:p>
            <a:endParaRPr lang="en-IN" dirty="0"/>
          </a:p>
          <a:p>
            <a:r>
              <a:rPr lang="en-IN" dirty="0"/>
              <a:t>Disaster recovery drills. It’s not enough to have a good disaster recovery plan in place. It must also be tested periodically to ensure that the recovery plan works properly when it matters most. For Azure virtual machines, use Azure Site Recovery to replicate and perform disaster recovery drills—all without impacting production applications or ongoing replication</a:t>
            </a:r>
          </a:p>
        </p:txBody>
      </p:sp>
      <p:sp>
        <p:nvSpPr>
          <p:cNvPr id="4" name="Slide Number Placeholder 3"/>
          <p:cNvSpPr>
            <a:spLocks noGrp="1"/>
          </p:cNvSpPr>
          <p:nvPr>
            <p:ph type="sldNum" sz="quarter" idx="5"/>
          </p:nvPr>
        </p:nvSpPr>
        <p:spPr/>
        <p:txBody>
          <a:bodyPr/>
          <a:lstStyle/>
          <a:p>
            <a:fld id="{FE8FDDD8-0BE7-4B08-B473-EF9CAB811427}" type="slidenum">
              <a:rPr lang="en-IN" smtClean="0"/>
              <a:t>39</a:t>
            </a:fld>
            <a:endParaRPr lang="en-IN"/>
          </a:p>
        </p:txBody>
      </p:sp>
    </p:spTree>
    <p:extLst>
      <p:ext uri="{BB962C8B-B14F-4D97-AF65-F5344CB8AC3E}">
        <p14:creationId xmlns:p14="http://schemas.microsoft.com/office/powerpoint/2010/main" val="4093954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Once an application is deployed to production, updates are a possible source of errors. In the worst case, a bad update can cause downtime. To avoid this, the deployment process must be predictable and repeatable. Deployment includes provisioning Azure resources, deploying application code and applying configuration settings. An update may involve all three or a subset. The crucial point is that manual deployments are prone to error. Therefore, it’s recommended to have an automated, idempotent process that you can run on demand and re-run if something fails. </a:t>
            </a:r>
          </a:p>
          <a:p>
            <a:r>
              <a:rPr lang="en-IN" dirty="0"/>
              <a:t>• Use Resource Manager templates to automate provisioning of Azure resources. </a:t>
            </a:r>
          </a:p>
          <a:p>
            <a:r>
              <a:rPr lang="en-IN" dirty="0"/>
              <a:t>• Use Azure Automation Desired State Configuration (DSC) to configure VMs.</a:t>
            </a:r>
          </a:p>
          <a:p>
            <a:r>
              <a:rPr lang="en-IN" dirty="0"/>
              <a:t>• Use an automated deployment process for application code</a:t>
            </a:r>
          </a:p>
        </p:txBody>
      </p:sp>
      <p:sp>
        <p:nvSpPr>
          <p:cNvPr id="4" name="Slide Number Placeholder 3"/>
          <p:cNvSpPr>
            <a:spLocks noGrp="1"/>
          </p:cNvSpPr>
          <p:nvPr>
            <p:ph type="sldNum" sz="quarter" idx="5"/>
          </p:nvPr>
        </p:nvSpPr>
        <p:spPr/>
        <p:txBody>
          <a:bodyPr/>
          <a:lstStyle/>
          <a:p>
            <a:fld id="{FE8FDDD8-0BE7-4B08-B473-EF9CAB811427}" type="slidenum">
              <a:rPr lang="en-IN" smtClean="0"/>
              <a:t>41</a:t>
            </a:fld>
            <a:endParaRPr lang="en-IN"/>
          </a:p>
        </p:txBody>
      </p:sp>
    </p:spTree>
    <p:extLst>
      <p:ext uri="{BB962C8B-B14F-4D97-AF65-F5344CB8AC3E}">
        <p14:creationId xmlns:p14="http://schemas.microsoft.com/office/powerpoint/2010/main" val="36242503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dirty="0"/>
              <a:t>Infrastructure as code is the practice of using code to provision and configure infrastructure. Infrastructure as code may use a declarative approach or an imperative approach (or a combination of both). Resource Manager templates are an example of a declarative approach. PowerShell scripts are an example of an imperative approach. </a:t>
            </a:r>
          </a:p>
          <a:p>
            <a:endParaRPr lang="en-IN" dirty="0"/>
          </a:p>
          <a:p>
            <a:pPr marL="171450" indent="-171450">
              <a:buFont typeface="Arial" panose="020B0604020202020204" pitchFamily="34" charset="0"/>
              <a:buChar char="•"/>
            </a:pPr>
            <a:r>
              <a:rPr lang="en-IN" dirty="0"/>
              <a:t>Immutable infrastructure is the principle that you shouldn’t modify infrastructure after it’s deployed to production. Otherwise, you can get into a state where ad hoc changes have been applied, so it’s hard to know exactly what changed, and hard to reason about the system</a:t>
            </a:r>
          </a:p>
        </p:txBody>
      </p:sp>
      <p:sp>
        <p:nvSpPr>
          <p:cNvPr id="4" name="Slide Number Placeholder 3"/>
          <p:cNvSpPr>
            <a:spLocks noGrp="1"/>
          </p:cNvSpPr>
          <p:nvPr>
            <p:ph type="sldNum" sz="quarter" idx="5"/>
          </p:nvPr>
        </p:nvSpPr>
        <p:spPr/>
        <p:txBody>
          <a:bodyPr/>
          <a:lstStyle/>
          <a:p>
            <a:fld id="{FE8FDDD8-0BE7-4B08-B473-EF9CAB811427}" type="slidenum">
              <a:rPr lang="en-IN" smtClean="0"/>
              <a:t>42</a:t>
            </a:fld>
            <a:endParaRPr lang="en-IN"/>
          </a:p>
        </p:txBody>
      </p:sp>
    </p:spTree>
    <p:extLst>
      <p:ext uri="{BB962C8B-B14F-4D97-AF65-F5344CB8AC3E}">
        <p14:creationId xmlns:p14="http://schemas.microsoft.com/office/powerpoint/2010/main" val="4098305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Blue-green deployment is a technique whereby an update is deployed into a production environment separately from the live application. After validating the deployment, switch the traffic routing to the updated version. For example, Azure App Service enables this with staging slots . </a:t>
            </a:r>
          </a:p>
          <a:p>
            <a:endParaRPr lang="en-IN" dirty="0"/>
          </a:p>
          <a:p>
            <a:r>
              <a:rPr lang="en-IN" dirty="0"/>
              <a:t>Canary releases are similar to blue-green deployments, but instead of switching all traffic to the updated version, the update is rolled out to a small percentage of users by routing a portion of the traffic to the new deployment. If there’s a problem, back off and revert to the old deployment. Otherwise, incrementally route more traffic to the new version until it’s handling 100 percent of the traffic.</a:t>
            </a:r>
          </a:p>
          <a:p>
            <a:endParaRPr lang="en-IN" dirty="0"/>
          </a:p>
          <a:p>
            <a:r>
              <a:rPr lang="en-IN" dirty="0"/>
              <a:t>Regardless of which approach is used, ensure the ability to roll back to the last known good deployment in case the new version isn’t functioning. In addition, have a strategy in place to roll back database changes and any other changes to dependent services. If errors occur, the application logs must indicate which version caused the error</a:t>
            </a:r>
          </a:p>
        </p:txBody>
      </p:sp>
      <p:sp>
        <p:nvSpPr>
          <p:cNvPr id="4" name="Slide Number Placeholder 3"/>
          <p:cNvSpPr>
            <a:spLocks noGrp="1"/>
          </p:cNvSpPr>
          <p:nvPr>
            <p:ph type="sldNum" sz="quarter" idx="5"/>
          </p:nvPr>
        </p:nvSpPr>
        <p:spPr/>
        <p:txBody>
          <a:bodyPr/>
          <a:lstStyle/>
          <a:p>
            <a:fld id="{FE8FDDD8-0BE7-4B08-B473-EF9CAB811427}" type="slidenum">
              <a:rPr lang="en-IN" smtClean="0"/>
              <a:t>43</a:t>
            </a:fld>
            <a:endParaRPr lang="en-IN"/>
          </a:p>
        </p:txBody>
      </p:sp>
    </p:spTree>
    <p:extLst>
      <p:ext uri="{BB962C8B-B14F-4D97-AF65-F5344CB8AC3E}">
        <p14:creationId xmlns:p14="http://schemas.microsoft.com/office/powerpoint/2010/main" val="9068531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46986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74967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0999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dirty="0"/>
              <a:t>Instrumentation. The raw data for monitoring and diagnostics comes from a variety of sources, including application logs, web server logs, OS performance counters, database logs and diagnostics built into the Azure platform. Most Azure services have a diagnostics feature that you can use to determine the cause of problems.</a:t>
            </a:r>
          </a:p>
          <a:p>
            <a:pPr marL="171450" indent="-171450">
              <a:buFont typeface="Arial" panose="020B0604020202020204" pitchFamily="34" charset="0"/>
              <a:buChar char="•"/>
            </a:pPr>
            <a:r>
              <a:rPr lang="en-IN" dirty="0"/>
              <a:t>Collection and storage. Raw instrumentation data can be held in various locations and with various formats (e.g., application trace logs, IIS logs, performance counters). These disparate sources are collected, consolidated and put into reliable storage. </a:t>
            </a:r>
          </a:p>
          <a:p>
            <a:pPr marL="171450" indent="-171450">
              <a:buFont typeface="Arial" panose="020B0604020202020204" pitchFamily="34" charset="0"/>
              <a:buChar char="•"/>
            </a:pPr>
            <a:r>
              <a:rPr lang="en-IN" dirty="0"/>
              <a:t>Analysis and diagnosis. After the data is consolidated, it can be analysed to troubleshoot issues and provide an overall view of application health.</a:t>
            </a:r>
          </a:p>
          <a:p>
            <a:pPr marL="171450" indent="-171450">
              <a:buFont typeface="Arial" panose="020B0604020202020204" pitchFamily="34" charset="0"/>
              <a:buChar char="•"/>
            </a:pPr>
            <a:r>
              <a:rPr lang="en-IN" dirty="0"/>
              <a:t>Visualisation and alerts. In this stage, telemetry data is presented in such a way that an operator can quickly notice problems or trends. Examples include dashboards or email alerts.</a:t>
            </a:r>
          </a:p>
        </p:txBody>
      </p:sp>
      <p:sp>
        <p:nvSpPr>
          <p:cNvPr id="4" name="Slide Number Placeholder 3"/>
          <p:cNvSpPr>
            <a:spLocks noGrp="1"/>
          </p:cNvSpPr>
          <p:nvPr>
            <p:ph type="sldNum" sz="quarter" idx="5"/>
          </p:nvPr>
        </p:nvSpPr>
        <p:spPr/>
        <p:txBody>
          <a:bodyPr/>
          <a:lstStyle/>
          <a:p>
            <a:fld id="{FE8FDDD8-0BE7-4B08-B473-EF9CAB811427}" type="slidenum">
              <a:rPr lang="en-IN" smtClean="0"/>
              <a:t>48</a:t>
            </a:fld>
            <a:endParaRPr lang="en-IN"/>
          </a:p>
        </p:txBody>
      </p:sp>
    </p:spTree>
    <p:extLst>
      <p:ext uri="{BB962C8B-B14F-4D97-AF65-F5344CB8AC3E}">
        <p14:creationId xmlns:p14="http://schemas.microsoft.com/office/powerpoint/2010/main" val="3863340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o help protect against the consequences of such failures, Azure provides a comprehensive set of built-in resilience services that customers can easily enable and control based on individual business needs. Whether it’s a single hardware node failure, a rack level failure, a </a:t>
            </a:r>
            <a:r>
              <a:rPr lang="en-IN" dirty="0" err="1"/>
              <a:t>datacenter</a:t>
            </a:r>
            <a:r>
              <a:rPr lang="en-IN" dirty="0"/>
              <a:t> outage, or a large-scale regional outage, Azure offers solutions</a:t>
            </a:r>
          </a:p>
        </p:txBody>
      </p:sp>
      <p:sp>
        <p:nvSpPr>
          <p:cNvPr id="4" name="Slide Number Placeholder 3"/>
          <p:cNvSpPr>
            <a:spLocks noGrp="1"/>
          </p:cNvSpPr>
          <p:nvPr>
            <p:ph type="sldNum" sz="quarter" idx="5"/>
          </p:nvPr>
        </p:nvSpPr>
        <p:spPr/>
        <p:txBody>
          <a:bodyPr/>
          <a:lstStyle/>
          <a:p>
            <a:fld id="{FE8FDDD8-0BE7-4B08-B473-EF9CAB811427}" type="slidenum">
              <a:rPr lang="en-IN" smtClean="0"/>
              <a:t>6</a:t>
            </a:fld>
            <a:endParaRPr lang="en-IN"/>
          </a:p>
        </p:txBody>
      </p:sp>
    </p:spTree>
    <p:extLst>
      <p:ext uri="{BB962C8B-B14F-4D97-AF65-F5344CB8AC3E}">
        <p14:creationId xmlns:p14="http://schemas.microsoft.com/office/powerpoint/2010/main" val="611989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49825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Even with automated recovery strategies, sometimes manual intervention is needed.</a:t>
            </a:r>
          </a:p>
          <a:p>
            <a:endParaRPr lang="en-IN" dirty="0"/>
          </a:p>
          <a:p>
            <a:r>
              <a:rPr lang="en-IN" dirty="0"/>
              <a:t>Alerts. </a:t>
            </a:r>
          </a:p>
          <a:p>
            <a:r>
              <a:rPr lang="en-IN" dirty="0"/>
              <a:t>Monitor the application for warning signs that may require proactive intervention. For example, if SQL Database or Cosmos DB consistently throttle the application, increase your database capacity or optimize queries. In this example, even though the application might handle the throttling errors transparently, telemetry should still raise an alert so that you can follow up. Microsoft recommends configuring alerts on Azure resource metrics and diagnostics logs against the service limits and quota thresholds and further recommends setting up alerts on metrics, as they are lower latency than diagnostics logs. In addition, Azure is able to provide some out-of-the-box health statuses through resource health, which can help diagnose throttling of Azure services. </a:t>
            </a:r>
          </a:p>
          <a:p>
            <a:endParaRPr lang="en-IN" dirty="0"/>
          </a:p>
          <a:p>
            <a:r>
              <a:rPr lang="en-IN" dirty="0"/>
              <a:t>Failover. </a:t>
            </a:r>
          </a:p>
          <a:p>
            <a:r>
              <a:rPr lang="en-IN" dirty="0"/>
              <a:t>Configure a disaster recovery strategy for the application. The appropriate strategy will depend on the SLAs. For most scenarios, an active-passive implementation is sufficient. For more information, see Deployment topologies for disaster recovery. Most Azure services allow for either manual or automated failover. For example, in an IaaS application, use Azure Site Recovery for the web and logic tiers and SQL </a:t>
            </a:r>
            <a:r>
              <a:rPr lang="en-IN" dirty="0" err="1"/>
              <a:t>AlwaysOn</a:t>
            </a:r>
            <a:r>
              <a:rPr lang="en-IN" dirty="0"/>
              <a:t> availability groups for the database tier. Traffic Manager provides automated failover across regions. </a:t>
            </a:r>
          </a:p>
          <a:p>
            <a:endParaRPr lang="en-IN" dirty="0"/>
          </a:p>
          <a:p>
            <a:r>
              <a:rPr lang="en-IN" dirty="0"/>
              <a:t>Operational readiness testing. </a:t>
            </a:r>
          </a:p>
          <a:p>
            <a:r>
              <a:rPr lang="en-IN" dirty="0"/>
              <a:t>Perform an operational readiness test for both failover to the secondary region and failback to the primary region. Many Azure services support manual failover or test failover for disaster recovery drills. Alternatively, simulate an outage by shutting down or removing services. </a:t>
            </a:r>
          </a:p>
          <a:p>
            <a:endParaRPr lang="en-IN" dirty="0"/>
          </a:p>
          <a:p>
            <a:r>
              <a:rPr lang="en-IN" dirty="0"/>
              <a:t>Data consistency check. </a:t>
            </a:r>
          </a:p>
          <a:p>
            <a:r>
              <a:rPr lang="en-IN" dirty="0"/>
              <a:t>If a failure occurs in a data store, there may be data inconsistencies when the store becomes available again, especially if the data was replicated. For Azure services that provide cross-regional replication, look at the RTO and RPO to understand the expected data loss in a failure. Review the SLAs for Azure services to understand whether </a:t>
            </a:r>
            <a:r>
              <a:rPr lang="en-IN" dirty="0" err="1"/>
              <a:t>crossregional</a:t>
            </a:r>
            <a:r>
              <a:rPr lang="en-IN" dirty="0"/>
              <a:t> failover can be initiated manually or if it will be initiated by Microsoft. For some services, Microsoft decides when to perform the failover. Microsoft may prioritize the recovery of data in the primary region, only failing over to a secondary region if data in the primary region is deemed unrecoverable. For example, GRS and Azure Key Vault follow this model</a:t>
            </a:r>
          </a:p>
          <a:p>
            <a:endParaRPr lang="en-IN" dirty="0"/>
          </a:p>
          <a:p>
            <a:r>
              <a:rPr lang="en-IN" dirty="0"/>
              <a:t>Restoring from backup. </a:t>
            </a:r>
          </a:p>
          <a:p>
            <a:r>
              <a:rPr lang="en-IN" dirty="0"/>
              <a:t>In some scenarios, restoring from backup is only possible within the same region. This is the case for Azure Backup. Other Azure services, such as Azure Cache for Redis, provide geo-replicated backups. The purpose of backups is to protect against accidental deletion or corruption of data by restoring the application to an earlier functional version. Therefore, while backups can serve as a disaster recovery solution in some cases, the inverse isn’t always true. Disaster recovery won’t protect you against accidental deletion or corruption of data</a:t>
            </a:r>
          </a:p>
        </p:txBody>
      </p:sp>
      <p:sp>
        <p:nvSpPr>
          <p:cNvPr id="4" name="Slide Number Placeholder 3"/>
          <p:cNvSpPr>
            <a:spLocks noGrp="1"/>
          </p:cNvSpPr>
          <p:nvPr>
            <p:ph type="sldNum" sz="quarter" idx="5"/>
          </p:nvPr>
        </p:nvSpPr>
        <p:spPr/>
        <p:txBody>
          <a:bodyPr/>
          <a:lstStyle/>
          <a:p>
            <a:fld id="{FE8FDDD8-0BE7-4B08-B473-EF9CAB811427}" type="slidenum">
              <a:rPr lang="en-IN" smtClean="0"/>
              <a:t>54</a:t>
            </a:fld>
            <a:endParaRPr lang="en-IN"/>
          </a:p>
        </p:txBody>
      </p:sp>
    </p:spTree>
    <p:extLst>
      <p:ext uri="{BB962C8B-B14F-4D97-AF65-F5344CB8AC3E}">
        <p14:creationId xmlns:p14="http://schemas.microsoft.com/office/powerpoint/2010/main" val="11524333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2021 7: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0999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Segoe "/>
                <a:ea typeface="+mn-ea"/>
                <a:cs typeface="+mn-cs"/>
              </a:rPr>
              <a:t>&lt;</a:t>
            </a:r>
            <a:r>
              <a:rPr lang="en-US" sz="1200" b="1" i="0" u="none" strike="noStrike" kern="1200">
                <a:solidFill>
                  <a:schemeClr val="tx1"/>
                </a:solidFill>
                <a:effectLst/>
                <a:latin typeface="Segoe "/>
                <a:ea typeface="+mn-ea"/>
                <a:cs typeface="+mn-cs"/>
              </a:rPr>
              <a:t>Key point</a:t>
            </a:r>
            <a:r>
              <a:rPr lang="en-US" sz="1200" b="0" i="0" u="none" strike="noStrike" kern="1200">
                <a:solidFill>
                  <a:schemeClr val="tx1"/>
                </a:solidFill>
                <a:effectLst/>
                <a:latin typeface="Segoe "/>
                <a:ea typeface="+mn-ea"/>
                <a:cs typeface="+mn-cs"/>
              </a:rPr>
              <a:t>&gt;: </a:t>
            </a:r>
            <a:r>
              <a:rPr lang="en-US" sz="1200" b="1" i="0" kern="1200">
                <a:solidFill>
                  <a:schemeClr val="tx1"/>
                </a:solidFill>
                <a:effectLst/>
                <a:latin typeface="+mn-lt"/>
                <a:ea typeface="+mn-ea"/>
                <a:cs typeface="+mn-cs"/>
              </a:rPr>
              <a:t>Microsoft Azure Well-Architected Frame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tx1"/>
                </a:solidFill>
                <a:effectLst/>
                <a:latin typeface="Segoe "/>
                <a:ea typeface="+mn-ea"/>
                <a:cs typeface="+mn-cs"/>
              </a:rPr>
              <a:t>&lt;Talking Points&gt;</a:t>
            </a:r>
          </a:p>
          <a:p>
            <a:pPr marL="171450" indent="-171450" rtl="0" fontAlgn="base">
              <a:buFont typeface="Wingdings" panose="05000000000000000000" pitchFamily="2" charset="2"/>
              <a:buChar char="§"/>
            </a:pPr>
            <a:r>
              <a:rPr lang="en-US" sz="1200" b="0" i="0" kern="1200">
                <a:solidFill>
                  <a:schemeClr val="tx1"/>
                </a:solidFill>
                <a:effectLst/>
                <a:latin typeface="+mn-lt"/>
                <a:ea typeface="+mn-ea"/>
                <a:cs typeface="+mn-cs"/>
              </a:rPr>
              <a:t>The Microsoft Azure Well-Architected Framework is a set of guiding tenets that can be used to improve the quality of a workload. </a:t>
            </a:r>
          </a:p>
          <a:p>
            <a:pPr marL="171450" indent="-171450" rtl="0" fontAlgn="base">
              <a:buFont typeface="Wingdings" panose="05000000000000000000" pitchFamily="2" charset="2"/>
              <a:buChar char="§"/>
            </a:pPr>
            <a:r>
              <a:rPr lang="en-US" sz="1200" b="0" i="0" kern="1200">
                <a:solidFill>
                  <a:schemeClr val="tx1"/>
                </a:solidFill>
                <a:effectLst/>
                <a:latin typeface="+mn-lt"/>
                <a:ea typeface="+mn-ea"/>
                <a:cs typeface="+mn-cs"/>
              </a:rPr>
              <a:t>The framework consists of five pillars of architecture excellence: Cost Optimization, Operational Excellence, Performance Efficiency, Reliability, and Security</a:t>
            </a:r>
          </a:p>
          <a:p>
            <a:pPr marL="0" indent="0" rtl="0" fontAlgn="base">
              <a:buFontTx/>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
                <a:ea typeface="+mn-ea"/>
                <a:cs typeface="+mn-cs"/>
              </a:rPr>
              <a:t>&lt;</a:t>
            </a:r>
            <a:r>
              <a:rPr lang="en-US" sz="1200" b="1" i="0" u="none" strike="noStrike" kern="1200">
                <a:solidFill>
                  <a:schemeClr val="tx1"/>
                </a:solidFill>
                <a:effectLst/>
                <a:latin typeface="Segoe "/>
                <a:ea typeface="+mn-ea"/>
                <a:cs typeface="+mn-cs"/>
              </a:rPr>
              <a:t>Transition</a:t>
            </a:r>
            <a:r>
              <a:rPr lang="en-US" sz="1200" b="0" i="0" u="none" strike="noStrike" kern="1200">
                <a:solidFill>
                  <a:schemeClr val="tx1"/>
                </a:solidFill>
                <a:effectLst/>
                <a:latin typeface="Segoe "/>
                <a:ea typeface="+mn-ea"/>
                <a:cs typeface="+mn-cs"/>
              </a:rPr>
              <a:t>&gt;: What are</a:t>
            </a:r>
            <a:r>
              <a:rPr lang="en-US" sz="1200">
                <a:solidFill>
                  <a:srgbClr val="0078D4"/>
                </a:solidFill>
                <a:latin typeface="Segoe UI Semibold" panose="020B0702040204020203" pitchFamily="34" charset="0"/>
                <a:cs typeface="Segoe UI Semibold" panose="020B0702040204020203" pitchFamily="34" charset="0"/>
              </a:rPr>
              <a:t> some inhibitors to workload quality, and how do we overcome them</a:t>
            </a:r>
            <a:r>
              <a:rPr lang="en-US" sz="1200" b="0" i="0" u="none" strike="noStrike" kern="1200">
                <a:solidFill>
                  <a:schemeClr val="tx1"/>
                </a:solidFill>
                <a:effectLst/>
                <a:latin typeface="Segoe "/>
                <a:ea typeface="+mn-ea"/>
                <a:cs typeface="+mn-cs"/>
              </a:rPr>
              <a:t>?</a:t>
            </a:r>
            <a:endParaRPr lang="en-US" sz="1200" b="0" i="0" kern="1200">
              <a:solidFill>
                <a:schemeClr val="tx1"/>
              </a:solidFill>
              <a:effectLst/>
              <a:latin typeface="Segoe "/>
              <a:ea typeface="+mn-ea"/>
              <a:cs typeface="+mn-cs"/>
            </a:endParaRPr>
          </a:p>
          <a:p>
            <a:endParaRPr lang="en-US"/>
          </a:p>
        </p:txBody>
      </p:sp>
    </p:spTree>
    <p:extLst>
      <p:ext uri="{BB962C8B-B14F-4D97-AF65-F5344CB8AC3E}">
        <p14:creationId xmlns:p14="http://schemas.microsoft.com/office/powerpoint/2010/main" val="3923563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Metrics to measure resilience </a:t>
            </a:r>
          </a:p>
          <a:p>
            <a:r>
              <a:rPr lang="en-IN" dirty="0"/>
              <a:t>The following metrics are used to measure resilience: </a:t>
            </a:r>
          </a:p>
          <a:p>
            <a:pPr marL="171450" indent="-171450">
              <a:buFont typeface="Arial" panose="020B0604020202020204" pitchFamily="34" charset="0"/>
              <a:buChar char="•"/>
            </a:pPr>
            <a:r>
              <a:rPr lang="en-IN" dirty="0"/>
              <a:t>Recovery time objective (RTO) is the maximum acceptable time that an application can be unavailable after an incident. </a:t>
            </a:r>
          </a:p>
          <a:p>
            <a:pPr marL="171450" indent="-171450">
              <a:buFont typeface="Arial" panose="020B0604020202020204" pitchFamily="34" charset="0"/>
              <a:buChar char="•"/>
            </a:pPr>
            <a:r>
              <a:rPr lang="en-IN" dirty="0"/>
              <a:t>Recovery point objective (RPO) is the maximum duration for which data loss can occur during a disaster. </a:t>
            </a:r>
          </a:p>
          <a:p>
            <a:pPr marL="171450" indent="-171450">
              <a:buFont typeface="Arial" panose="020B0604020202020204" pitchFamily="34" charset="0"/>
              <a:buChar char="•"/>
            </a:pPr>
            <a:r>
              <a:rPr lang="en-IN" dirty="0"/>
              <a:t>Mean time to recover (MTTR) is the average time that it takes to restore a component after a failure. </a:t>
            </a:r>
          </a:p>
          <a:p>
            <a:pPr marL="171450" indent="-171450">
              <a:buFont typeface="Arial" panose="020B0604020202020204" pitchFamily="34" charset="0"/>
              <a:buChar char="•"/>
            </a:pPr>
            <a:r>
              <a:rPr lang="en-IN" dirty="0"/>
              <a:t>Mean time between failures (MTBF) is the runtime that a component can reasonably expect to last between outages. </a:t>
            </a:r>
          </a:p>
          <a:p>
            <a:pPr marL="171450" indent="-171450">
              <a:buFont typeface="Arial" panose="020B0604020202020204" pitchFamily="34" charset="0"/>
              <a:buChar char="•"/>
            </a:pPr>
            <a:r>
              <a:rPr lang="en-IN" dirty="0"/>
              <a:t>The service-level agreement (SLA) in Azure describes our commitments regarding uptime and connectivity. If the SLA for a service is 99.9 percent, customers can expect the service to be available 99.9 percent of the time. Dealing with multiple services that have different agreements adds complexity. In this case, it’s necessary to calculate a composite SLA</a:t>
            </a:r>
          </a:p>
        </p:txBody>
      </p:sp>
      <p:sp>
        <p:nvSpPr>
          <p:cNvPr id="4" name="Slide Number Placeholder 3"/>
          <p:cNvSpPr>
            <a:spLocks noGrp="1"/>
          </p:cNvSpPr>
          <p:nvPr>
            <p:ph type="sldNum" sz="quarter" idx="5"/>
          </p:nvPr>
        </p:nvSpPr>
        <p:spPr/>
        <p:txBody>
          <a:bodyPr/>
          <a:lstStyle/>
          <a:p>
            <a:fld id="{FE8FDDD8-0BE7-4B08-B473-EF9CAB811427}" type="slidenum">
              <a:rPr lang="en-IN" smtClean="0"/>
              <a:t>10</a:t>
            </a:fld>
            <a:endParaRPr lang="en-IN"/>
          </a:p>
        </p:txBody>
      </p:sp>
    </p:spTree>
    <p:extLst>
      <p:ext uri="{BB962C8B-B14F-4D97-AF65-F5344CB8AC3E}">
        <p14:creationId xmlns:p14="http://schemas.microsoft.com/office/powerpoint/2010/main" val="277919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t’s also important to define what it means for the application to be available. For example, is the application considered down if someone can submit an order, but the system can’t process it within the normal timeframe? </a:t>
            </a:r>
          </a:p>
          <a:p>
            <a:r>
              <a:rPr lang="en-IN" dirty="0"/>
              <a:t>Also, consider the probability of an outage occurring and whether a mitigation strategy is cost-effective. </a:t>
            </a:r>
          </a:p>
          <a:p>
            <a:r>
              <a:rPr lang="en-IN" dirty="0"/>
              <a:t>Resilience planning begins with business requirements. The following are some approaches to help in thinking about resilience in those terms</a:t>
            </a:r>
          </a:p>
        </p:txBody>
      </p:sp>
      <p:sp>
        <p:nvSpPr>
          <p:cNvPr id="4" name="Slide Number Placeholder 3"/>
          <p:cNvSpPr>
            <a:spLocks noGrp="1"/>
          </p:cNvSpPr>
          <p:nvPr>
            <p:ph type="sldNum" sz="quarter" idx="5"/>
          </p:nvPr>
        </p:nvSpPr>
        <p:spPr/>
        <p:txBody>
          <a:bodyPr/>
          <a:lstStyle/>
          <a:p>
            <a:fld id="{FE8FDDD8-0BE7-4B08-B473-EF9CAB811427}" type="slidenum">
              <a:rPr lang="en-IN" smtClean="0"/>
              <a:t>11</a:t>
            </a:fld>
            <a:endParaRPr lang="en-IN"/>
          </a:p>
        </p:txBody>
      </p:sp>
    </p:spTree>
    <p:extLst>
      <p:ext uri="{BB962C8B-B14F-4D97-AF65-F5344CB8AC3E}">
        <p14:creationId xmlns:p14="http://schemas.microsoft.com/office/powerpoint/2010/main" val="2114968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Consider an App Service web app that writes to Azure SQL Database. At the time of this writing, these Azure services have the following SLAs: • App Service Web Apps = 99.95% • SQL Database = 99.99% Composite SLAs What is the maximum downtime you would expect for this application? If either service fails, the whole application fails. In general, the probability of each service failing is independent, so the composite SLA for this application is 99.95% × 99.99% = 99.94%. That’s lower than the individual SLAs, which isn’t surprising, because an application that relies on multiple services has more potential failure points</a:t>
            </a:r>
          </a:p>
        </p:txBody>
      </p:sp>
      <p:sp>
        <p:nvSpPr>
          <p:cNvPr id="4" name="Slide Number Placeholder 3"/>
          <p:cNvSpPr>
            <a:spLocks noGrp="1"/>
          </p:cNvSpPr>
          <p:nvPr>
            <p:ph type="sldNum" sz="quarter" idx="5"/>
          </p:nvPr>
        </p:nvSpPr>
        <p:spPr/>
        <p:txBody>
          <a:bodyPr/>
          <a:lstStyle/>
          <a:p>
            <a:fld id="{FE8FDDD8-0BE7-4B08-B473-EF9CAB811427}" type="slidenum">
              <a:rPr lang="en-IN" smtClean="0"/>
              <a:t>13</a:t>
            </a:fld>
            <a:endParaRPr lang="en-IN"/>
          </a:p>
        </p:txBody>
      </p:sp>
    </p:spTree>
    <p:extLst>
      <p:ext uri="{BB962C8B-B14F-4D97-AF65-F5344CB8AC3E}">
        <p14:creationId xmlns:p14="http://schemas.microsoft.com/office/powerpoint/2010/main" val="3868804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compose by workload Many cloud solutions consist of multiple application workloads. The term workload in this context means a discrete capability or computing task, which can be logically separated from other tasks in terms of business logic and data storage requirements. For example, an e-commerce app might include the following workloads: Browse and search a product </a:t>
            </a:r>
            <a:r>
              <a:rPr lang="en-IN" dirty="0" err="1"/>
              <a:t>catalog</a:t>
            </a:r>
            <a:r>
              <a:rPr lang="en-IN" dirty="0"/>
              <a:t>. Create and track orders. View recommendations. These workloads might have different requirements for availability, scalability, data consistency, and disaster recovery. This means business decisions are required to balance cost versus risk.</a:t>
            </a:r>
          </a:p>
          <a:p>
            <a:endParaRPr lang="en-IN" dirty="0"/>
          </a:p>
          <a:p>
            <a:r>
              <a:rPr lang="en-IN" dirty="0"/>
              <a:t>Categorizing applications into different tiers is a common strategy. Tier zero and tier one applications are made up of those applications that should experience very minimal data loss and downtime.</a:t>
            </a:r>
          </a:p>
          <a:p>
            <a:r>
              <a:rPr lang="en-IN" dirty="0"/>
              <a:t>The RTO/RPO for this tier needs to be zero or as close to nil as possible. Tier two applications consist of applications for which it’s acceptable to lose minimal amounts of data with RTO and RPO of the order of a few minutes. With tier three and tier four applications, downtime can affect internal operations for a few hours. While this is inconvenient, it doesn’t pose a huge risk to the business. The categorization of applications and the exact availability SLA, RPO, and RTO requirements vary from industry to industry, and from customer to customer. For example, an e-commerce website is tier zero or tier one for a retail company where the only sales channel is through the website. For a retail company where brick and mortar stores are the primary sales channel, the point of sales (POS) application is tier zero or tier one. Thus, it’s important to categorize the application inventory into multiple tiers based on the organization’s business needs and resilience requirements.</a:t>
            </a:r>
          </a:p>
        </p:txBody>
      </p:sp>
      <p:sp>
        <p:nvSpPr>
          <p:cNvPr id="4" name="Slide Number Placeholder 3"/>
          <p:cNvSpPr>
            <a:spLocks noGrp="1"/>
          </p:cNvSpPr>
          <p:nvPr>
            <p:ph type="sldNum" sz="quarter" idx="5"/>
          </p:nvPr>
        </p:nvSpPr>
        <p:spPr/>
        <p:txBody>
          <a:bodyPr/>
          <a:lstStyle/>
          <a:p>
            <a:fld id="{FE8FDDD8-0BE7-4B08-B473-EF9CAB811427}" type="slidenum">
              <a:rPr lang="en-IN" smtClean="0"/>
              <a:t>14</a:t>
            </a:fld>
            <a:endParaRPr lang="en-IN"/>
          </a:p>
        </p:txBody>
      </p:sp>
    </p:spTree>
    <p:extLst>
      <p:ext uri="{BB962C8B-B14F-4D97-AF65-F5344CB8AC3E}">
        <p14:creationId xmlns:p14="http://schemas.microsoft.com/office/powerpoint/2010/main" val="2331054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ardware failure A failure of any hardware component including computer, network, or storage hardware. </a:t>
            </a:r>
          </a:p>
          <a:p>
            <a:r>
              <a:rPr lang="en-IN" dirty="0" err="1"/>
              <a:t>Datacenter</a:t>
            </a:r>
            <a:r>
              <a:rPr lang="en-IN" dirty="0"/>
              <a:t> failure An entire </a:t>
            </a:r>
            <a:r>
              <a:rPr lang="en-IN" dirty="0" err="1"/>
              <a:t>datacenter</a:t>
            </a:r>
            <a:r>
              <a:rPr lang="en-IN" dirty="0"/>
              <a:t> is impacted by issues such as a power grid outage. </a:t>
            </a:r>
          </a:p>
          <a:p>
            <a:r>
              <a:rPr lang="en-IN" dirty="0"/>
              <a:t>Regional failure This includes any natural disaster-like event that impacts multiple </a:t>
            </a:r>
            <a:r>
              <a:rPr lang="en-IN" dirty="0" err="1"/>
              <a:t>datacenters</a:t>
            </a:r>
            <a:r>
              <a:rPr lang="en-IN" dirty="0"/>
              <a:t> in a region, causing the entire region to go down. </a:t>
            </a:r>
          </a:p>
          <a:p>
            <a:r>
              <a:rPr lang="en-IN" dirty="0"/>
              <a:t>Transient failure Requests between various components fail intermittently. End user requests will fail when this isn’t handled properly. </a:t>
            </a:r>
          </a:p>
          <a:p>
            <a:r>
              <a:rPr lang="en-IN" dirty="0"/>
              <a:t>Dependency service failure This occurs when any service on which the application is dependent is not functioning correctly. Heavy load A sudden spike in incoming requests prevents the application from servicing requests. </a:t>
            </a:r>
          </a:p>
          <a:p>
            <a:r>
              <a:rPr lang="en-IN" dirty="0"/>
              <a:t>Accidental data deletion or corruption Customers mistakenly delete critical data or data has been corrupted due to unforeseen reasons. </a:t>
            </a:r>
          </a:p>
          <a:p>
            <a:r>
              <a:rPr lang="en-IN" dirty="0"/>
              <a:t>Application deployment failure A failure that takes place when updating production application deployments</a:t>
            </a:r>
          </a:p>
        </p:txBody>
      </p:sp>
      <p:sp>
        <p:nvSpPr>
          <p:cNvPr id="4" name="Slide Number Placeholder 3"/>
          <p:cNvSpPr>
            <a:spLocks noGrp="1"/>
          </p:cNvSpPr>
          <p:nvPr>
            <p:ph type="sldNum" sz="quarter" idx="5"/>
          </p:nvPr>
        </p:nvSpPr>
        <p:spPr/>
        <p:txBody>
          <a:bodyPr/>
          <a:lstStyle/>
          <a:p>
            <a:fld id="{FE8FDDD8-0BE7-4B08-B473-EF9CAB811427}" type="slidenum">
              <a:rPr lang="en-IN" smtClean="0"/>
              <a:t>17</a:t>
            </a:fld>
            <a:endParaRPr lang="en-IN"/>
          </a:p>
        </p:txBody>
      </p:sp>
    </p:spTree>
    <p:extLst>
      <p:ext uri="{BB962C8B-B14F-4D97-AF65-F5344CB8AC3E}">
        <p14:creationId xmlns:p14="http://schemas.microsoft.com/office/powerpoint/2010/main" val="3307147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he steps for conducting an FMA: </a:t>
            </a:r>
          </a:p>
          <a:p>
            <a:pPr marL="171450" indent="-171450">
              <a:buFont typeface="Arial" panose="020B0604020202020204" pitchFamily="34" charset="0"/>
              <a:buChar char="•"/>
            </a:pPr>
            <a:r>
              <a:rPr lang="en-IN" dirty="0"/>
              <a:t>Identify all system components and include external dependencies, such as identity providers, third-party services, and so on. </a:t>
            </a:r>
          </a:p>
          <a:p>
            <a:pPr marL="171450" indent="-171450">
              <a:buFont typeface="Arial" panose="020B0604020202020204" pitchFamily="34" charset="0"/>
              <a:buChar char="•"/>
            </a:pPr>
            <a:r>
              <a:rPr lang="en-IN" dirty="0"/>
              <a:t>For each component, identify potential failures that could occur, keeping in mind that a single component may have more than one failure mode. For example, consider read failures and write failures separately, because the impact and possible mitigations of each will be different. </a:t>
            </a:r>
          </a:p>
          <a:p>
            <a:pPr marL="171450" indent="-171450">
              <a:buFont typeface="Arial" panose="020B0604020202020204" pitchFamily="34" charset="0"/>
              <a:buChar char="•"/>
            </a:pPr>
            <a:r>
              <a:rPr lang="en-IN" dirty="0"/>
              <a:t>Rate each failure mode according to its overall risk. Consider these factors: What’s the likelihood of the failure? Exact numbers aren’t necessary because the purpose is to help rank the priority. What’s the impact on the application, in terms of availability, data loss, monetary cost, and business disruption? </a:t>
            </a:r>
          </a:p>
          <a:p>
            <a:pPr marL="171450" indent="-171450">
              <a:buFont typeface="Arial" panose="020B0604020202020204" pitchFamily="34" charset="0"/>
              <a:buChar char="•"/>
            </a:pPr>
            <a:r>
              <a:rPr lang="en-IN" dirty="0"/>
              <a:t>For each failure mode, determine how the application will detect, respond, and recover. Consider trade-offs in terms of cost and application complexity</a:t>
            </a:r>
          </a:p>
        </p:txBody>
      </p:sp>
      <p:sp>
        <p:nvSpPr>
          <p:cNvPr id="4" name="Slide Number Placeholder 3"/>
          <p:cNvSpPr>
            <a:spLocks noGrp="1"/>
          </p:cNvSpPr>
          <p:nvPr>
            <p:ph type="sldNum" sz="quarter" idx="5"/>
          </p:nvPr>
        </p:nvSpPr>
        <p:spPr/>
        <p:txBody>
          <a:bodyPr/>
          <a:lstStyle/>
          <a:p>
            <a:fld id="{FE8FDDD8-0BE7-4B08-B473-EF9CAB811427}" type="slidenum">
              <a:rPr lang="en-IN" smtClean="0"/>
              <a:t>19</a:t>
            </a:fld>
            <a:endParaRPr lang="en-IN"/>
          </a:p>
        </p:txBody>
      </p:sp>
    </p:spTree>
    <p:extLst>
      <p:ext uri="{BB962C8B-B14F-4D97-AF65-F5344CB8AC3E}">
        <p14:creationId xmlns:p14="http://schemas.microsoft.com/office/powerpoint/2010/main" val="664309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emf"/><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0"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ctrTitle"/>
          </p:nvPr>
        </p:nvSpPr>
        <p:spPr>
          <a:xfrm>
            <a:off x="1016000"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1"/>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p:cNvCxnSpPr/>
          <p:nvPr/>
        </p:nvCxnSpPr>
        <p:spPr>
          <a:xfrm>
            <a:off x="5039883" y="3717033"/>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467930"/>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sp>
        <p:nvSpPr>
          <p:cNvPr id="7"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476306085"/>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6"/>
            <a:ext cx="7315200" cy="4114800"/>
          </a:xfrm>
        </p:spPr>
        <p:txBody>
          <a:bodyPr rtlCol="0">
            <a:normAutofit/>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8" y="5367338"/>
            <a:ext cx="7315200" cy="8048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sp>
        <p:nvSpPr>
          <p:cNvPr id="7"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587308982"/>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5" name="Footer Placeholder 4"/>
          <p:cNvSpPr>
            <a:spLocks noGrp="1"/>
          </p:cNvSpPr>
          <p:nvPr>
            <p:ph type="ftr" sz="quarter" idx="11"/>
          </p:nvPr>
        </p:nvSpPr>
        <p:spPr/>
        <p:txBody>
          <a:bodyPr/>
          <a:lstStyle>
            <a:lvl1pPr>
              <a:defRPr/>
            </a:lvl1pPr>
          </a:lstStyle>
          <a:p>
            <a:endParaRPr lang="en-IN"/>
          </a:p>
        </p:txBody>
      </p:sp>
      <p:sp>
        <p:nvSpPr>
          <p:cNvPr id="6"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1330130647"/>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7965"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76583916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9" y="436566"/>
            <a:ext cx="11401219" cy="450123"/>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22389" y="1198567"/>
            <a:ext cx="11401219" cy="1337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7346877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6" cy="2677656"/>
          </a:xfrm>
        </p:spPr>
        <p:txBody>
          <a:bodyPr>
            <a:spAutoFit/>
          </a:bodyPr>
          <a:lstStyle>
            <a:lvl1pPr marL="292044" indent="-292044">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600" indent="-228556">
              <a:defRPr sz="2000"/>
            </a:lvl2pPr>
            <a:lvl3pPr marL="685668" indent="-165068">
              <a:tabLst/>
              <a:defRPr sz="2000"/>
            </a:lvl3pPr>
            <a:lvl4pPr marL="863435" indent="-177766">
              <a:defRPr/>
            </a:lvl4pPr>
            <a:lvl5pPr marL="1028502" indent="-1650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2" y="1447802"/>
            <a:ext cx="5396366" cy="2855141"/>
          </a:xfrm>
        </p:spPr>
        <p:txBody>
          <a:bodyPr>
            <a:spAutoFit/>
          </a:bodyPr>
          <a:lstStyle>
            <a:lvl1pPr marL="339660" indent="-339660">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4879" indent="-342834">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435" indent="-342834">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502" indent="-342834">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268" indent="-342834">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44" marR="0" lvl="1"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44" marR="0" lvl="2"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44" marR="0" lvl="3"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44" marR="0" lvl="4"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5F5DD35-1D35-42F7-AC5F-9AAA6B2407A8}" type="slidenum">
              <a:rPr lang="en-IN" smtClean="0"/>
              <a:t>‹#›</a:t>
            </a:fld>
            <a:endParaRPr lang="en-IN"/>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171360037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5F5DD35-1D35-42F7-AC5F-9AAA6B2407A8}" type="slidenum">
              <a:rPr lang="en-IN" smtClean="0"/>
              <a:t>‹#›</a:t>
            </a:fld>
            <a:endParaRPr lang="en-IN"/>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90828" y="6100347"/>
            <a:ext cx="2165148" cy="749808"/>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85207527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647791" y="2980724"/>
            <a:ext cx="6274975" cy="896552"/>
          </a:xfrm>
        </p:spPr>
        <p:txBody>
          <a:bodyPr vert="horz" wrap="square" lIns="182880" tIns="146304" rIns="182880" bIns="146304" rtlCol="0" anchor="ctr">
            <a:noAutofit/>
          </a:bodyPr>
          <a:lstStyle>
            <a:lvl1pPr>
              <a:defRPr lang="en-US" sz="3528" kern="1200" dirty="0" smtClean="0">
                <a:gradFill>
                  <a:gsLst>
                    <a:gs pos="0">
                      <a:srgbClr val="505050"/>
                    </a:gs>
                    <a:gs pos="100000">
                      <a:srgbClr val="505050"/>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187625"/>
            <a:ext cx="4482124" cy="446846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4166446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69240" y="1187621"/>
            <a:ext cx="11653523" cy="5377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9000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28847891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152401"/>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sp>
        <p:nvSpPr>
          <p:cNvPr id="10" name="Slide Number Placeholder 5"/>
          <p:cNvSpPr>
            <a:spLocks noGrp="1"/>
          </p:cNvSpPr>
          <p:nvPr>
            <p:ph type="sldNum" sz="quarter" idx="12"/>
          </p:nvPr>
        </p:nvSpPr>
        <p:spPr>
          <a:xfrm>
            <a:off x="8737600" y="6356352"/>
            <a:ext cx="2844800" cy="365125"/>
          </a:xfrm>
        </p:spPr>
        <p:txBody>
          <a:bodyPr/>
          <a:lstStyle>
            <a:lvl1pPr>
              <a:defRPr/>
            </a:lvl1pPr>
          </a:lstStyle>
          <a:p>
            <a:fld id="{75F5DD35-1D35-42F7-AC5F-9AAA6B2407A8}" type="slidenum">
              <a:rPr lang="en-IN" smtClean="0"/>
              <a:t>‹#›</a:t>
            </a:fld>
            <a:endParaRPr lang="en-IN"/>
          </a:p>
        </p:txBody>
      </p:sp>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5754008"/>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30" indent="0">
              <a:buNone/>
              <a:defRPr sz="2000">
                <a:gradFill>
                  <a:gsLst>
                    <a:gs pos="100000">
                      <a:schemeClr val="bg2"/>
                    </a:gs>
                    <a:gs pos="6000">
                      <a:schemeClr val="bg2"/>
                    </a:gs>
                  </a:gsLst>
                  <a:lin ang="5400000" scaled="0"/>
                </a:gradFill>
              </a:defRPr>
            </a:lvl3pPr>
            <a:lvl4pPr marL="457112" indent="0">
              <a:buNone/>
              <a:defRPr sz="2000">
                <a:gradFill>
                  <a:gsLst>
                    <a:gs pos="100000">
                      <a:schemeClr val="bg2"/>
                    </a:gs>
                    <a:gs pos="6000">
                      <a:schemeClr val="bg2"/>
                    </a:gs>
                  </a:gsLst>
                  <a:lin ang="5400000" scaled="0"/>
                </a:gradFill>
              </a:defRPr>
            </a:lvl4pPr>
            <a:lvl5pPr marL="693604"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163411126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45987597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1"/>
            <a:ext cx="8964246" cy="1075884"/>
          </a:xfrm>
        </p:spPr>
        <p:txBody>
          <a:bodyPr lIns="157541" tIns="98464" rIns="157541" bIns="98464"/>
          <a:lstStyle>
            <a:lvl1pPr>
              <a:lnSpc>
                <a:spcPts val="6650"/>
              </a:lnSpc>
              <a:defRPr sz="6176"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75F5DD35-1D35-42F7-AC5F-9AAA6B2407A8}" type="slidenum">
              <a:rPr lang="en-IN" smtClean="0"/>
              <a:t>‹#›</a:t>
            </a:fld>
            <a:endParaRPr lang="en-IN"/>
          </a:p>
        </p:txBody>
      </p:sp>
    </p:spTree>
    <p:extLst>
      <p:ext uri="{BB962C8B-B14F-4D97-AF65-F5344CB8AC3E}">
        <p14:creationId xmlns:p14="http://schemas.microsoft.com/office/powerpoint/2010/main" val="1705192596"/>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a:xfrm>
            <a:off x="3048002" y="6477887"/>
            <a:ext cx="8382000" cy="380127"/>
          </a:xfrm>
          <a:prstGeom prst="rect">
            <a:avLst/>
          </a:prstGeom>
        </p:spPr>
        <p:txBody>
          <a:bodyPr/>
          <a:lstStyle/>
          <a:p>
            <a:endParaRPr lang="en-IN"/>
          </a:p>
        </p:txBody>
      </p:sp>
      <p:sp>
        <p:nvSpPr>
          <p:cNvPr id="5" name="Slide Number Placeholder 4"/>
          <p:cNvSpPr>
            <a:spLocks noGrp="1"/>
          </p:cNvSpPr>
          <p:nvPr>
            <p:ph type="sldNum" sz="quarter" idx="12"/>
            <p:custDataLst>
              <p:tags r:id="rId5"/>
            </p:custDataLst>
          </p:nvPr>
        </p:nvSpPr>
        <p:spPr>
          <a:xfrm>
            <a:off x="11430009" y="6478601"/>
            <a:ext cx="761999" cy="379413"/>
          </a:xfrm>
          <a:prstGeom prst="rect">
            <a:avLst/>
          </a:prstGeom>
        </p:spPr>
        <p:txBody>
          <a:bodyPr/>
          <a:lstStyle/>
          <a:p>
            <a:fld id="{75F5DD35-1D35-42F7-AC5F-9AAA6B2407A8}" type="slidenum">
              <a:rPr lang="en-IN" smtClean="0"/>
              <a:t>‹#›</a:t>
            </a:fld>
            <a:endParaRPr lang="en-IN"/>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Tree>
    <p:extLst>
      <p:ext uri="{BB962C8B-B14F-4D97-AF65-F5344CB8AC3E}">
        <p14:creationId xmlns:p14="http://schemas.microsoft.com/office/powerpoint/2010/main" val="139479090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6"/>
            </p:custDataLst>
          </p:nvPr>
        </p:nvSpPr>
        <p:spPr>
          <a:xfrm>
            <a:off x="11430009" y="6477876"/>
            <a:ext cx="761999" cy="380126"/>
          </a:xfrm>
          <a:prstGeom prst="rect">
            <a:avLst/>
          </a:prstGeom>
        </p:spPr>
        <p:txBody>
          <a:bodyPr/>
          <a:lstStyle/>
          <a:p>
            <a:fld id="{75F5DD35-1D35-42F7-AC5F-9AAA6B2407A8}" type="slidenum">
              <a:rPr lang="en-IN" smtClean="0"/>
              <a:t>‹#›</a:t>
            </a:fld>
            <a:endParaRPr lang="en-IN"/>
          </a:p>
        </p:txBody>
      </p:sp>
      <p:sp>
        <p:nvSpPr>
          <p:cNvPr id="20" name="Footer Placeholder 19"/>
          <p:cNvSpPr>
            <a:spLocks noGrp="1"/>
          </p:cNvSpPr>
          <p:nvPr>
            <p:ph type="ftr" sz="quarter" idx="16"/>
            <p:custDataLst>
              <p:tags r:id="rId7"/>
            </p:custDataLst>
          </p:nvPr>
        </p:nvSpPr>
        <p:spPr>
          <a:xfrm>
            <a:off x="3048002" y="6477887"/>
            <a:ext cx="8382000" cy="380127"/>
          </a:xfrm>
          <a:prstGeom prst="rect">
            <a:avLst/>
          </a:prstGeom>
        </p:spPr>
        <p:txBody>
          <a:bodyPr/>
          <a:lstStyle/>
          <a:p>
            <a:endParaRPr lang="en-IN"/>
          </a:p>
        </p:txBody>
      </p:sp>
    </p:spTree>
    <p:extLst>
      <p:ext uri="{BB962C8B-B14F-4D97-AF65-F5344CB8AC3E}">
        <p14:creationId xmlns:p14="http://schemas.microsoft.com/office/powerpoint/2010/main" val="19561812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9364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4pt Title Only">
    <p:spTree>
      <p:nvGrpSpPr>
        <p:cNvPr id="1" name=""/>
        <p:cNvGrpSpPr/>
        <p:nvPr/>
      </p:nvGrpSpPr>
      <p:grpSpPr>
        <a:xfrm>
          <a:off x="0" y="0"/>
          <a:ext cx="0" cy="0"/>
          <a:chOff x="0" y="0"/>
          <a:chExt cx="0" cy="0"/>
        </a:xfrm>
      </p:grpSpPr>
      <p:sp>
        <p:nvSpPr>
          <p:cNvPr id="7" name="Title 1"/>
          <p:cNvSpPr>
            <a:spLocks noGrp="1"/>
          </p:cNvSpPr>
          <p:nvPr>
            <p:ph type="title"/>
          </p:nvPr>
        </p:nvSpPr>
        <p:spPr>
          <a:xfrm>
            <a:off x="170321" y="134484"/>
            <a:ext cx="11655840" cy="744138"/>
          </a:xfrm>
        </p:spPr>
        <p:txBody>
          <a:bodyPr/>
          <a:lstStyle>
            <a:lvl1pPr>
              <a:lnSpc>
                <a:spcPts val="5098"/>
              </a:lnSpc>
              <a:defRPr sz="4509" b="0">
                <a:solidFill>
                  <a:srgbClr val="0078D7"/>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21083456"/>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Content Placeholder 2"/>
          <p:cNvSpPr>
            <a:spLocks noGrp="1"/>
          </p:cNvSpPr>
          <p:nvPr>
            <p:ph sz="half" idx="1"/>
          </p:nvPr>
        </p:nvSpPr>
        <p:spPr>
          <a:xfrm>
            <a:off x="609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4" name="Content Placeholder 3"/>
          <p:cNvSpPr>
            <a:spLocks noGrp="1"/>
          </p:cNvSpPr>
          <p:nvPr>
            <p:ph sz="half" idx="2"/>
          </p:nvPr>
        </p:nvSpPr>
        <p:spPr>
          <a:xfrm>
            <a:off x="6197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5" name="Date Placeholder 4"/>
          <p:cNvSpPr>
            <a:spLocks noGrp="1"/>
          </p:cNvSpPr>
          <p:nvPr>
            <p:ph type="dt" sz="half" idx="10"/>
          </p:nvPr>
        </p:nvSpPr>
        <p:spPr>
          <a:xfrm>
            <a:off x="8940800" y="177801"/>
            <a:ext cx="2844800" cy="365125"/>
          </a:xfrm>
          <a:prstGeom prst="rect">
            <a:avLst/>
          </a:prstGeom>
        </p:spPr>
        <p:txBody>
          <a:bodyPr/>
          <a:lstStyle/>
          <a:p>
            <a:fld id="{D8FE085A-AA42-4340-A13F-762F52402DBA}" type="datetimeFigureOut">
              <a:rPr lang="en-IN" smtClean="0"/>
              <a:t>09-06-2021</a:t>
            </a:fld>
            <a:endParaRPr lang="en-IN"/>
          </a:p>
        </p:txBody>
      </p:sp>
      <p:sp>
        <p:nvSpPr>
          <p:cNvPr id="9"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2240383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Date Placeholder 2"/>
          <p:cNvSpPr>
            <a:spLocks noGrp="1"/>
          </p:cNvSpPr>
          <p:nvPr>
            <p:ph type="dt" sz="half" idx="10"/>
          </p:nvPr>
        </p:nvSpPr>
        <p:spPr>
          <a:xfrm>
            <a:off x="8940800" y="177801"/>
            <a:ext cx="2844800" cy="365125"/>
          </a:xfrm>
          <a:prstGeom prst="rect">
            <a:avLst/>
          </a:prstGeom>
        </p:spPr>
        <p:txBody>
          <a:bodyPr/>
          <a:lstStyle/>
          <a:p>
            <a:fld id="{D8FE085A-AA42-4340-A13F-762F52402DBA}" type="datetimeFigureOut">
              <a:rPr lang="en-IN" smtClean="0"/>
              <a:t>09-06-2021</a:t>
            </a:fld>
            <a:endParaRPr lang="en-IN"/>
          </a:p>
        </p:txBody>
      </p:sp>
      <p:sp>
        <p:nvSpPr>
          <p:cNvPr id="7"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501423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pic>
        <p:nvPicPr>
          <p:cNvPr id="9" name="Picture 8" descr="kkk.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a:xfrm>
            <a:off x="8940800" y="177801"/>
            <a:ext cx="2844800" cy="365125"/>
          </a:xfrm>
          <a:prstGeom prst="rect">
            <a:avLst/>
          </a:prstGeom>
        </p:spPr>
        <p:txBody>
          <a:bodyPr/>
          <a:lstStyle/>
          <a:p>
            <a:fld id="{D8FE085A-AA42-4340-A13F-762F52402DBA}" type="datetimeFigureOut">
              <a:rPr lang="en-IN" smtClean="0"/>
              <a:t>09-06-2021</a:t>
            </a:fld>
            <a:endParaRPr lang="en-IN"/>
          </a:p>
        </p:txBody>
      </p:sp>
      <p:sp>
        <p:nvSpPr>
          <p:cNvPr id="8" name="Picture Placeholder 11"/>
          <p:cNvSpPr>
            <a:spLocks noGrp="1"/>
          </p:cNvSpPr>
          <p:nvPr>
            <p:ph type="pic" sz="quarter" idx="14"/>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723038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rgbClr val="0070C0"/>
              </a:buClr>
              <a:buSzPct val="75000"/>
              <a:buFont typeface="Webdings" pitchFamily="18" charset="2"/>
              <a:buChar char=""/>
              <a:defRPr sz="2400">
                <a:solidFill>
                  <a:schemeClr val="tx1"/>
                </a:solidFill>
                <a:latin typeface="Segoe UI" pitchFamily="34" charset="0"/>
                <a:ea typeface="Segoe UI" pitchFamily="34" charset="0"/>
                <a:cs typeface="Segoe UI" pitchFamily="34" charset="0"/>
              </a:defRPr>
            </a:lvl1pPr>
            <a:lvl2pPr>
              <a:buClr>
                <a:srgbClr val="0070C0"/>
              </a:buClr>
              <a:buSzPct val="75000"/>
              <a:buFont typeface="Webdings" pitchFamily="18" charset="2"/>
              <a:buChar char=""/>
              <a:defRPr sz="2000">
                <a:solidFill>
                  <a:schemeClr val="tx1"/>
                </a:solidFill>
                <a:latin typeface="Segoe UI" pitchFamily="34" charset="0"/>
                <a:ea typeface="Segoe UI" pitchFamily="34" charset="0"/>
                <a:cs typeface="Segoe UI" pitchFamily="34" charset="0"/>
              </a:defRPr>
            </a:lvl2pPr>
            <a:lvl3pPr>
              <a:buClr>
                <a:srgbClr val="0070C0"/>
              </a:buClr>
              <a:buSzPct val="75000"/>
              <a:buFont typeface="Webdings" pitchFamily="18" charset="2"/>
              <a:buChar char=""/>
              <a:defRPr sz="1800">
                <a:solidFill>
                  <a:schemeClr val="tx1"/>
                </a:solidFill>
                <a:latin typeface="Segoe UI" pitchFamily="34" charset="0"/>
                <a:ea typeface="Segoe UI" pitchFamily="34" charset="0"/>
                <a:cs typeface="Segoe UI" pitchFamily="34" charset="0"/>
              </a:defRPr>
            </a:lvl3pPr>
            <a:lvl4pPr>
              <a:buClr>
                <a:srgbClr val="0070C0"/>
              </a:buClr>
              <a:buSzPct val="75000"/>
              <a:buFont typeface="Webdings" pitchFamily="18" charset="2"/>
              <a:buChar char=""/>
              <a:defRPr sz="1600">
                <a:solidFill>
                  <a:schemeClr val="tx1"/>
                </a:solidFill>
                <a:latin typeface="Segoe UI" pitchFamily="34" charset="0"/>
                <a:ea typeface="Segoe UI" pitchFamily="34" charset="0"/>
                <a:cs typeface="Segoe UI" pitchFamily="34" charset="0"/>
              </a:defRPr>
            </a:lvl4pPr>
            <a:lvl5pPr>
              <a:buClr>
                <a:srgbClr val="0070C0"/>
              </a:buClr>
              <a:buSzPct val="75000"/>
              <a:buFont typeface="Webdings" pitchFamily="18" charset="2"/>
              <a:buChar char=""/>
              <a:defRPr sz="1600">
                <a:solidFill>
                  <a:schemeClr val="tx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rot="16200000">
            <a:off x="11653702" y="6345404"/>
            <a:ext cx="630855" cy="448212"/>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3524006769"/>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6" tIns="38083" rIns="76166" bIns="38083" rtlCol="0" anchor="ctr"/>
          <a:lstStyle/>
          <a:p>
            <a:pPr algn="ctr" defTabSz="1087882"/>
            <a:endParaRPr lang="en-US" sz="2157" dirty="0">
              <a:solidFill>
                <a:prstClr val="white"/>
              </a:solidFill>
            </a:endParaRPr>
          </a:p>
        </p:txBody>
      </p:sp>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p:txBody>
          <a:bodyPr/>
          <a:lstStyle/>
          <a:p>
            <a:endParaRPr lang="en-IN"/>
          </a:p>
        </p:txBody>
      </p:sp>
      <p:sp>
        <p:nvSpPr>
          <p:cNvPr id="5" name="Slide Number Placeholder 4"/>
          <p:cNvSpPr>
            <a:spLocks noGrp="1"/>
          </p:cNvSpPr>
          <p:nvPr>
            <p:ph type="sldNum" sz="quarter" idx="12"/>
            <p:custDataLst>
              <p:tags r:id="rId5"/>
            </p:custDataLst>
          </p:nvPr>
        </p:nvSpPr>
        <p:spPr>
          <a:xfrm>
            <a:off x="11430008" y="6478600"/>
            <a:ext cx="761999" cy="379413"/>
          </a:xfrm>
          <a:prstGeom prst="rect">
            <a:avLst/>
          </a:prstGeom>
        </p:spPr>
        <p:txBody>
          <a:bodyPr/>
          <a:lstStyle/>
          <a:p>
            <a:fld id="{75F5DD35-1D35-42F7-AC5F-9AAA6B2407A8}" type="slidenum">
              <a:rPr lang="en-IN" smtClean="0"/>
              <a:t>‹#›</a:t>
            </a:fld>
            <a:endParaRPr lang="en-IN"/>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Tree>
    <p:extLst>
      <p:ext uri="{BB962C8B-B14F-4D97-AF65-F5344CB8AC3E}">
        <p14:creationId xmlns:p14="http://schemas.microsoft.com/office/powerpoint/2010/main" val="26920119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0855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3"/>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
        <p:nvSpPr>
          <p:cNvPr id="16" name="Text Placeholder 15"/>
          <p:cNvSpPr>
            <a:spLocks noGrp="1"/>
          </p:cNvSpPr>
          <p:nvPr>
            <p:ph type="body" sz="quarter" idx="14"/>
            <p:custDataLst>
              <p:tags r:id="rId4"/>
            </p:custDataLst>
          </p:nvPr>
        </p:nvSpPr>
        <p:spPr>
          <a:xfrm>
            <a:off x="404813" y="1330326"/>
            <a:ext cx="11365992" cy="4918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5"/>
            </p:custDataLst>
          </p:nvPr>
        </p:nvSpPr>
        <p:spPr/>
        <p:txBody>
          <a:bodyPr/>
          <a:lstStyle/>
          <a:p>
            <a:fld id="{75F5DD35-1D35-42F7-AC5F-9AAA6B2407A8}" type="slidenum">
              <a:rPr lang="en-IN" smtClean="0"/>
              <a:t>‹#›</a:t>
            </a:fld>
            <a:endParaRPr lang="en-IN"/>
          </a:p>
        </p:txBody>
      </p:sp>
      <p:sp>
        <p:nvSpPr>
          <p:cNvPr id="20" name="Footer Placeholder 19"/>
          <p:cNvSpPr>
            <a:spLocks noGrp="1"/>
          </p:cNvSpPr>
          <p:nvPr>
            <p:ph type="ftr" sz="quarter" idx="16"/>
            <p:custDataLst>
              <p:tags r:id="rId6"/>
            </p:custDataLst>
          </p:nvPr>
        </p:nvSpPr>
        <p:spPr>
          <a:xfrm>
            <a:off x="4165600" y="6356352"/>
            <a:ext cx="3860800" cy="365125"/>
          </a:xfrm>
          <a:prstGeom prst="rect">
            <a:avLst/>
          </a:prstGeom>
        </p:spPr>
        <p:txBody>
          <a:bodyPr/>
          <a:lstStyle/>
          <a:p>
            <a:endParaRPr lang="en-IN"/>
          </a:p>
        </p:txBody>
      </p:sp>
    </p:spTree>
    <p:extLst>
      <p:ext uri="{BB962C8B-B14F-4D97-AF65-F5344CB8AC3E}">
        <p14:creationId xmlns:p14="http://schemas.microsoft.com/office/powerpoint/2010/main" val="21796099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78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215501546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216355"/>
            <a:ext cx="11176000" cy="563562"/>
          </a:xfrm>
        </p:spPr>
        <p:txBody>
          <a:bodyPr>
            <a:noAutofit/>
          </a:bodyPr>
          <a:lstStyle>
            <a:lvl1pPr algn="l">
              <a:defRPr sz="3100">
                <a:solidFill>
                  <a:schemeClr val="bg1"/>
                </a:solidFill>
                <a:latin typeface="Segoe UI Light"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06400" y="1066800"/>
            <a:ext cx="11176000" cy="5486400"/>
          </a:xfrm>
        </p:spPr>
        <p:txBody>
          <a:bodyPr/>
          <a:lstStyle>
            <a:lvl1pPr>
              <a:defRPr>
                <a:solidFill>
                  <a:schemeClr val="tx1">
                    <a:lumMod val="50000"/>
                    <a:lumOff val="50000"/>
                  </a:schemeClr>
                </a:solidFill>
                <a:latin typeface="Segoe UI" pitchFamily="34" charset="0"/>
                <a:ea typeface="Segoe UI" pitchFamily="34" charset="0"/>
                <a:cs typeface="Segoe UI" pitchFamily="34" charset="0"/>
              </a:defRPr>
            </a:lvl1pPr>
            <a:lvl2pPr>
              <a:defRPr>
                <a:solidFill>
                  <a:schemeClr val="tx1">
                    <a:lumMod val="50000"/>
                    <a:lumOff val="50000"/>
                  </a:schemeClr>
                </a:solidFill>
                <a:latin typeface="Segoe UI" pitchFamily="34" charset="0"/>
                <a:ea typeface="Segoe UI" pitchFamily="34" charset="0"/>
                <a:cs typeface="Segoe UI" pitchFamily="34" charset="0"/>
              </a:defRPr>
            </a:lvl2pPr>
            <a:lvl3pPr>
              <a:defRPr>
                <a:solidFill>
                  <a:schemeClr val="tx1">
                    <a:lumMod val="50000"/>
                    <a:lumOff val="50000"/>
                  </a:schemeClr>
                </a:solidFill>
                <a:latin typeface="Segoe UI" pitchFamily="34" charset="0"/>
                <a:ea typeface="Segoe UI" pitchFamily="34" charset="0"/>
                <a:cs typeface="Segoe UI" pitchFamily="34" charset="0"/>
              </a:defRPr>
            </a:lvl3pPr>
            <a:lvl4pPr>
              <a:defRPr>
                <a:solidFill>
                  <a:schemeClr val="tx1">
                    <a:lumMod val="50000"/>
                    <a:lumOff val="50000"/>
                  </a:schemeClr>
                </a:solidFill>
                <a:latin typeface="Segoe UI" pitchFamily="34" charset="0"/>
                <a:ea typeface="Segoe UI" pitchFamily="34" charset="0"/>
                <a:cs typeface="Segoe UI" pitchFamily="34" charset="0"/>
              </a:defRPr>
            </a:lvl4pPr>
            <a:lvl5pPr>
              <a:defRPr>
                <a:solidFill>
                  <a:schemeClr val="tx1">
                    <a:lumMod val="50000"/>
                    <a:lumOff val="50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rot="16200000">
            <a:off x="11605686" y="6271683"/>
            <a:ext cx="685800" cy="486833"/>
          </a:xfrm>
          <a:prstGeom prst="rect">
            <a:avLst/>
          </a:prstGeom>
          <a:solidFill>
            <a:srgbClr val="99CC00"/>
          </a:solidFill>
        </p:spPr>
        <p:txBody>
          <a:bodyPr vert="horz" lIns="108839" tIns="54419" rIns="108839" bIns="54419" rtlCol="0" anchor="ctr"/>
          <a:lstStyle>
            <a:lvl1pPr algn="ctr">
              <a:defRPr sz="1500">
                <a:solidFill>
                  <a:schemeClr val="bg1"/>
                </a:solidFill>
                <a:latin typeface="Segoe UI Semibold" pitchFamily="34" charset="0"/>
              </a:defRPr>
            </a:lvl1pPr>
          </a:lstStyle>
          <a:p>
            <a:fld id="{75F5DD35-1D35-42F7-AC5F-9AAA6B2407A8}" type="slidenum">
              <a:rPr lang="en-IN" smtClean="0"/>
              <a:t>‹#›</a:t>
            </a:fld>
            <a:endParaRPr lang="en-IN"/>
          </a:p>
        </p:txBody>
      </p:sp>
      <p:sp>
        <p:nvSpPr>
          <p:cNvPr id="11" name="Text Placeholder 10"/>
          <p:cNvSpPr>
            <a:spLocks noGrp="1"/>
          </p:cNvSpPr>
          <p:nvPr>
            <p:ph type="body" sz="quarter" idx="10"/>
          </p:nvPr>
        </p:nvSpPr>
        <p:spPr>
          <a:xfrm rot="5400000">
            <a:off x="9405096" y="3331755"/>
            <a:ext cx="5080462" cy="493345"/>
          </a:xfrm>
        </p:spPr>
        <p:txBody>
          <a:bodyPr>
            <a:noAutofit/>
          </a:bodyPr>
          <a:lstStyle>
            <a:lvl1pPr algn="ctr">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50182361"/>
      </p:ext>
    </p:extLst>
  </p:cSld>
  <p:clrMapOvr>
    <a:masterClrMapping/>
  </p:clrMapOvr>
  <p:transition spd="med">
    <p:push/>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3162504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551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9D3EAAE-526A-4794-B55D-2C19418EAD25}"/>
              </a:ext>
            </a:extLst>
          </p:cNvPr>
          <p:cNvSpPr>
            <a:spLocks noGrp="1"/>
          </p:cNvSpPr>
          <p:nvPr>
            <p:ph type="title"/>
          </p:nvPr>
        </p:nvSpPr>
        <p:spPr>
          <a:xfrm>
            <a:off x="631658" y="486952"/>
            <a:ext cx="11230142" cy="597906"/>
          </a:xfrm>
        </p:spPr>
        <p:txBody>
          <a:bodyPr>
            <a:normAutofit/>
          </a:bodyPr>
          <a:lstStyle>
            <a:lvl1pPr>
              <a:defRPr sz="3600" b="1"/>
            </a:lvl1pPr>
          </a:lstStyle>
          <a:p>
            <a:r>
              <a:rPr lang="en-US"/>
              <a:t>Click to edit Master title style</a:t>
            </a:r>
          </a:p>
        </p:txBody>
      </p:sp>
      <p:sp>
        <p:nvSpPr>
          <p:cNvPr id="7" name="Subtitle 2">
            <a:extLst>
              <a:ext uri="{FF2B5EF4-FFF2-40B4-BE49-F238E27FC236}">
                <a16:creationId xmlns:a16="http://schemas.microsoft.com/office/drawing/2014/main" id="{67414904-A9ED-4F05-94A7-33BF8DFF998E}"/>
              </a:ext>
            </a:extLst>
          </p:cNvPr>
          <p:cNvSpPr>
            <a:spLocks noGrp="1"/>
          </p:cNvSpPr>
          <p:nvPr>
            <p:ph type="subTitle" idx="13" hasCustomPrompt="1"/>
          </p:nvPr>
        </p:nvSpPr>
        <p:spPr>
          <a:xfrm>
            <a:off x="631659" y="222256"/>
            <a:ext cx="11230141" cy="264696"/>
          </a:xfrm>
        </p:spPr>
        <p:txBody>
          <a:bodyPr>
            <a:normAutofit/>
          </a:bodyPr>
          <a:lstStyle>
            <a:lvl1pPr marL="0" indent="0" algn="l">
              <a:buNone/>
              <a:defRPr sz="1400" spc="300">
                <a:solidFill>
                  <a:srgbClr val="30B4E8"/>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473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227164-1807-4675-96F2-AD6FD9C8A675}"/>
              </a:ext>
            </a:extLst>
          </p:cNvPr>
          <p:cNvSpPr>
            <a:spLocks noGrp="1"/>
          </p:cNvSpPr>
          <p:nvPr>
            <p:ph idx="1"/>
          </p:nvPr>
        </p:nvSpPr>
        <p:spPr>
          <a:xfrm>
            <a:off x="631658" y="1349554"/>
            <a:ext cx="11219447" cy="50813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F919CD32-714D-43C7-86CB-F1BE03031B30}"/>
              </a:ext>
            </a:extLst>
          </p:cNvPr>
          <p:cNvSpPr>
            <a:spLocks noGrp="1"/>
          </p:cNvSpPr>
          <p:nvPr>
            <p:ph type="title"/>
          </p:nvPr>
        </p:nvSpPr>
        <p:spPr>
          <a:xfrm>
            <a:off x="631658" y="486952"/>
            <a:ext cx="9474868" cy="597906"/>
          </a:xfrm>
        </p:spPr>
        <p:txBody>
          <a:bodyPr>
            <a:normAutofit/>
          </a:bodyPr>
          <a:lstStyle>
            <a:lvl1pPr>
              <a:defRPr sz="3600" b="1"/>
            </a:lvl1pPr>
          </a:lstStyle>
          <a:p>
            <a:r>
              <a:rPr lang="en-US"/>
              <a:t>Click to edit Master title style</a:t>
            </a:r>
          </a:p>
        </p:txBody>
      </p:sp>
      <p:sp>
        <p:nvSpPr>
          <p:cNvPr id="11" name="Subtitle 2">
            <a:extLst>
              <a:ext uri="{FF2B5EF4-FFF2-40B4-BE49-F238E27FC236}">
                <a16:creationId xmlns:a16="http://schemas.microsoft.com/office/drawing/2014/main" id="{1F1AA4F8-1294-4914-A5D0-403427705D04}"/>
              </a:ext>
            </a:extLst>
          </p:cNvPr>
          <p:cNvSpPr>
            <a:spLocks noGrp="1"/>
          </p:cNvSpPr>
          <p:nvPr>
            <p:ph type="subTitle" idx="13" hasCustomPrompt="1"/>
          </p:nvPr>
        </p:nvSpPr>
        <p:spPr>
          <a:xfrm>
            <a:off x="631659" y="222256"/>
            <a:ext cx="9474867" cy="264696"/>
          </a:xfrm>
        </p:spPr>
        <p:txBody>
          <a:bodyPr>
            <a:normAutofit/>
          </a:bodyPr>
          <a:lstStyle>
            <a:lvl1pPr marL="0" indent="0" algn="l">
              <a:buNone/>
              <a:defRPr sz="1400" spc="300">
                <a:solidFill>
                  <a:srgbClr val="30B4E8"/>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0856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a:off x="11561234" y="6268081"/>
            <a:ext cx="630766" cy="448276"/>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4093582110"/>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2595219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227164-1807-4675-96F2-AD6FD9C8A675}"/>
              </a:ext>
            </a:extLst>
          </p:cNvPr>
          <p:cNvSpPr>
            <a:spLocks noGrp="1"/>
          </p:cNvSpPr>
          <p:nvPr>
            <p:ph idx="1"/>
          </p:nvPr>
        </p:nvSpPr>
        <p:spPr>
          <a:xfrm>
            <a:off x="631658" y="1349554"/>
            <a:ext cx="11219447" cy="50813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F919CD32-714D-43C7-86CB-F1BE03031B30}"/>
              </a:ext>
            </a:extLst>
          </p:cNvPr>
          <p:cNvSpPr>
            <a:spLocks noGrp="1"/>
          </p:cNvSpPr>
          <p:nvPr>
            <p:ph type="title"/>
          </p:nvPr>
        </p:nvSpPr>
        <p:spPr>
          <a:xfrm>
            <a:off x="631658" y="486952"/>
            <a:ext cx="9474868" cy="597906"/>
          </a:xfrm>
        </p:spPr>
        <p:txBody>
          <a:bodyPr>
            <a:normAutofit/>
          </a:bodyPr>
          <a:lstStyle>
            <a:lvl1pPr>
              <a:defRPr sz="3600" b="1"/>
            </a:lvl1pPr>
          </a:lstStyle>
          <a:p>
            <a:r>
              <a:rPr lang="en-US"/>
              <a:t>Click to edit Master title style</a:t>
            </a:r>
          </a:p>
        </p:txBody>
      </p:sp>
      <p:sp>
        <p:nvSpPr>
          <p:cNvPr id="11" name="Subtitle 2">
            <a:extLst>
              <a:ext uri="{FF2B5EF4-FFF2-40B4-BE49-F238E27FC236}">
                <a16:creationId xmlns:a16="http://schemas.microsoft.com/office/drawing/2014/main" id="{1F1AA4F8-1294-4914-A5D0-403427705D04}"/>
              </a:ext>
            </a:extLst>
          </p:cNvPr>
          <p:cNvSpPr>
            <a:spLocks noGrp="1"/>
          </p:cNvSpPr>
          <p:nvPr>
            <p:ph type="subTitle" idx="13" hasCustomPrompt="1"/>
          </p:nvPr>
        </p:nvSpPr>
        <p:spPr>
          <a:xfrm>
            <a:off x="631659" y="222256"/>
            <a:ext cx="9474867" cy="264696"/>
          </a:xfrm>
        </p:spPr>
        <p:txBody>
          <a:bodyPr>
            <a:normAutofit/>
          </a:bodyPr>
          <a:lstStyle>
            <a:lvl1pPr marL="0" indent="0" algn="l">
              <a:buNone/>
              <a:defRPr sz="1400" spc="300">
                <a:solidFill>
                  <a:srgbClr val="30B4E8"/>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74318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45BD54-D254-4322-AF58-CAE8257A3F82}"/>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10DB2E3-BEBB-417E-9A38-25C15BFBA35A}"/>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263A75F-78DF-42A9-BC21-1C7D5E55C115}"/>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2B1FEF01-CFDC-4705-BBAE-88BD256BEE1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776D622D-9BE6-4C9D-8064-B078A5E909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7B9C8AFD-31CF-44B5-815D-F706827DA94E}"/>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CCB5F93B-4C98-41CB-94D6-75C066006312}"/>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0F325318-E234-4F36-8B87-16BA513E58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2724" y="5082520"/>
            <a:ext cx="1724772" cy="496382"/>
          </a:xfrm>
          <a:prstGeom prst="rect">
            <a:avLst/>
          </a:prstGeom>
        </p:spPr>
      </p:pic>
      <p:pic>
        <p:nvPicPr>
          <p:cNvPr id="15" name="Picture 14">
            <a:extLst>
              <a:ext uri="{FF2B5EF4-FFF2-40B4-BE49-F238E27FC236}">
                <a16:creationId xmlns:a16="http://schemas.microsoft.com/office/drawing/2014/main" id="{33C151AA-4A07-419B-9ED6-CEF6AC61C1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9516" y="4978669"/>
            <a:ext cx="2166937" cy="704084"/>
          </a:xfrm>
          <a:prstGeom prst="rect">
            <a:avLst/>
          </a:prstGeom>
        </p:spPr>
      </p:pic>
      <p:sp>
        <p:nvSpPr>
          <p:cNvPr id="2" name="Title 1">
            <a:extLst>
              <a:ext uri="{FF2B5EF4-FFF2-40B4-BE49-F238E27FC236}">
                <a16:creationId xmlns:a16="http://schemas.microsoft.com/office/drawing/2014/main" id="{357F1B1E-B7D1-4F84-BC64-4CE0DB37DA10}"/>
              </a:ext>
            </a:extLst>
          </p:cNvPr>
          <p:cNvSpPr>
            <a:spLocks noGrp="1"/>
          </p:cNvSpPr>
          <p:nvPr>
            <p:ph type="ctrTitle"/>
          </p:nvPr>
        </p:nvSpPr>
        <p:spPr>
          <a:xfrm>
            <a:off x="3778624" y="1574538"/>
            <a:ext cx="8001000" cy="1701519"/>
          </a:xfrm>
        </p:spPr>
        <p:txBody>
          <a:bodyPr anchor="ctr">
            <a:normAutofit/>
          </a:bodyPr>
          <a:lstStyle>
            <a:lvl1pPr algn="ctr">
              <a:defRPr sz="4000">
                <a:solidFill>
                  <a:schemeClr val="tx1">
                    <a:lumMod val="50000"/>
                    <a:lumOff val="50000"/>
                  </a:schemeClr>
                </a:solidFill>
                <a:latin typeface="Trebuchet MS" panose="020B0603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486D6E-6BA8-4C52-924A-59253267AF57}"/>
              </a:ext>
            </a:extLst>
          </p:cNvPr>
          <p:cNvSpPr>
            <a:spLocks noGrp="1"/>
          </p:cNvSpPr>
          <p:nvPr>
            <p:ph type="subTitle" idx="1"/>
          </p:nvPr>
        </p:nvSpPr>
        <p:spPr>
          <a:xfrm>
            <a:off x="3778624" y="3602038"/>
            <a:ext cx="8001000" cy="806816"/>
          </a:xfrm>
        </p:spPr>
        <p:txBody>
          <a:bodyPr anchor="ctr"/>
          <a:lstStyle>
            <a:lvl1pPr marL="0" indent="0" algn="ctr">
              <a:buNone/>
              <a:defRPr sz="2400">
                <a:solidFill>
                  <a:srgbClr val="0070C0"/>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3A3C5C8-6BE2-42E9-8B5A-2ED21D041198}"/>
              </a:ext>
            </a:extLst>
          </p:cNvPr>
          <p:cNvSpPr>
            <a:spLocks noGrp="1"/>
          </p:cNvSpPr>
          <p:nvPr>
            <p:ph type="dt" sz="half" idx="10"/>
          </p:nvPr>
        </p:nvSpPr>
        <p:spPr/>
        <p:txBody>
          <a:bodyPr/>
          <a:lstStyle/>
          <a:p>
            <a:fld id="{B53A7951-1658-4778-938E-2E6BDE9E7745}" type="datetimeFigureOut">
              <a:rPr lang="en-US" smtClean="0"/>
              <a:t>6/9/2021</a:t>
            </a:fld>
            <a:endParaRPr lang="en-US"/>
          </a:p>
        </p:txBody>
      </p:sp>
      <p:sp>
        <p:nvSpPr>
          <p:cNvPr id="5" name="Footer Placeholder 4">
            <a:extLst>
              <a:ext uri="{FF2B5EF4-FFF2-40B4-BE49-F238E27FC236}">
                <a16:creationId xmlns:a16="http://schemas.microsoft.com/office/drawing/2014/main" id="{5318EDC7-CDC2-4407-9F8F-C0CEAA4009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F695F3-58FF-4760-B1DC-C5025EA66D87}"/>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7" name="Straight Connector 16">
            <a:extLst>
              <a:ext uri="{FF2B5EF4-FFF2-40B4-BE49-F238E27FC236}">
                <a16:creationId xmlns:a16="http://schemas.microsoft.com/office/drawing/2014/main" id="{70565CEE-49E5-468C-A0B4-83E886C61D84}"/>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740C7E80-A24C-4396-B051-437EF1D79AB8}"/>
              </a:ext>
            </a:extLst>
          </p:cNvPr>
          <p:cNvSpPr/>
          <p:nvPr/>
        </p:nvSpPr>
        <p:spPr>
          <a:xfrm>
            <a:off x="7968342"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C52EBDC4-1E90-4F52-92F1-8C4F5999C539}"/>
              </a:ext>
            </a:extLst>
          </p:cNvPr>
          <p:cNvSpPr/>
          <p:nvPr/>
        </p:nvSpPr>
        <p:spPr>
          <a:xfrm rot="10800000">
            <a:off x="5849258"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2712582"/>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C48660-697D-4BB9-97F6-A5BB6C764668}"/>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0BE8EE-2EB2-435C-9D5A-AAA15842A36C}"/>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23355C8-5657-4103-B600-59803F24DBFF}"/>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0" name="Rectangle 9">
            <a:extLst>
              <a:ext uri="{FF2B5EF4-FFF2-40B4-BE49-F238E27FC236}">
                <a16:creationId xmlns:a16="http://schemas.microsoft.com/office/drawing/2014/main" id="{CFF2C038-CD71-4DD5-AD56-49FB9C0E8AF6}"/>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1" name="Rectangle 10">
            <a:extLst>
              <a:ext uri="{FF2B5EF4-FFF2-40B4-BE49-F238E27FC236}">
                <a16:creationId xmlns:a16="http://schemas.microsoft.com/office/drawing/2014/main" id="{D626EA1A-6BCF-4846-ABF3-498AD8F1EC8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2" name="Rectangle 11">
            <a:extLst>
              <a:ext uri="{FF2B5EF4-FFF2-40B4-BE49-F238E27FC236}">
                <a16:creationId xmlns:a16="http://schemas.microsoft.com/office/drawing/2014/main" id="{E91F1E9A-33FE-49BA-B69E-30EA3CC61DB9}"/>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3" name="Picture 12">
            <a:extLst>
              <a:ext uri="{FF2B5EF4-FFF2-40B4-BE49-F238E27FC236}">
                <a16:creationId xmlns:a16="http://schemas.microsoft.com/office/drawing/2014/main" id="{B9CD68B3-2898-4D6B-B5C2-F62D51C485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grpSp>
        <p:nvGrpSpPr>
          <p:cNvPr id="14" name="Group 13">
            <a:extLst>
              <a:ext uri="{FF2B5EF4-FFF2-40B4-BE49-F238E27FC236}">
                <a16:creationId xmlns:a16="http://schemas.microsoft.com/office/drawing/2014/main" id="{C4873B59-2742-4F87-99A9-E1AA8FCD8E50}"/>
              </a:ext>
            </a:extLst>
          </p:cNvPr>
          <p:cNvGrpSpPr/>
          <p:nvPr/>
        </p:nvGrpSpPr>
        <p:grpSpPr>
          <a:xfrm>
            <a:off x="9291457" y="4352078"/>
            <a:ext cx="2186521" cy="1954633"/>
            <a:chOff x="10020116" y="4405313"/>
            <a:chExt cx="1958686" cy="1750961"/>
          </a:xfrm>
        </p:grpSpPr>
        <p:pic>
          <p:nvPicPr>
            <p:cNvPr id="15" name="Picture 14">
              <a:extLst>
                <a:ext uri="{FF2B5EF4-FFF2-40B4-BE49-F238E27FC236}">
                  <a16:creationId xmlns:a16="http://schemas.microsoft.com/office/drawing/2014/main" id="{289441B2-4EF5-4599-887F-42F7A59AD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7447" y="4441774"/>
              <a:ext cx="1724025" cy="1714500"/>
            </a:xfrm>
            <a:prstGeom prst="rect">
              <a:avLst/>
            </a:prstGeom>
          </p:spPr>
        </p:pic>
        <p:sp>
          <p:nvSpPr>
            <p:cNvPr id="16" name="Rectangle 15">
              <a:extLst>
                <a:ext uri="{FF2B5EF4-FFF2-40B4-BE49-F238E27FC236}">
                  <a16:creationId xmlns:a16="http://schemas.microsoft.com/office/drawing/2014/main" id="{C4F730E1-3FAD-4138-ACCA-276E0BBA031B}"/>
                </a:ext>
              </a:extLst>
            </p:cNvPr>
            <p:cNvSpPr/>
            <p:nvPr/>
          </p:nvSpPr>
          <p:spPr>
            <a:xfrm>
              <a:off x="10020116" y="4405313"/>
              <a:ext cx="1958686" cy="1750961"/>
            </a:xfrm>
            <a:prstGeom prst="rect">
              <a:avLst/>
            </a:prstGeom>
            <a:solidFill>
              <a:srgbClr val="FFFFFF">
                <a:alpha val="9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F08D64F-302C-4B73-A9F2-946CA338260A}"/>
              </a:ext>
            </a:extLst>
          </p:cNvPr>
          <p:cNvSpPr>
            <a:spLocks noGrp="1"/>
          </p:cNvSpPr>
          <p:nvPr>
            <p:ph type="title"/>
          </p:nvPr>
        </p:nvSpPr>
        <p:spPr>
          <a:xfrm>
            <a:off x="353565" y="278160"/>
            <a:ext cx="9438716" cy="797605"/>
          </a:xfrm>
        </p:spPr>
        <p:txBody>
          <a:bodyPr>
            <a:normAutofit/>
          </a:bodyPr>
          <a:lstStyle>
            <a:lvl1pPr>
              <a:defRPr sz="2800">
                <a:solidFill>
                  <a:schemeClr val="bg1">
                    <a:lumMod val="50000"/>
                  </a:schemeClr>
                </a:solidFill>
                <a:latin typeface="Trebuchet MS" panose="020B0603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72EB2DC-2ADD-4476-921C-5457C12D154E}"/>
              </a:ext>
            </a:extLst>
          </p:cNvPr>
          <p:cNvSpPr>
            <a:spLocks noGrp="1"/>
          </p:cNvSpPr>
          <p:nvPr>
            <p:ph idx="1"/>
          </p:nvPr>
        </p:nvSpPr>
        <p:spPr>
          <a:xfrm>
            <a:off x="726724" y="1253331"/>
            <a:ext cx="11039452" cy="5053380"/>
          </a:xfrm>
        </p:spPr>
        <p:txBody>
          <a:bodyPr>
            <a:normAutofit/>
          </a:bodyPr>
          <a:lstStyle>
            <a:lvl1pPr>
              <a:defRPr sz="2400">
                <a:solidFill>
                  <a:schemeClr val="bg1">
                    <a:lumMod val="50000"/>
                  </a:schemeClr>
                </a:solidFill>
                <a:latin typeface="Trebuchet MS" panose="020B0603020202020204" pitchFamily="34" charset="0"/>
              </a:defRPr>
            </a:lvl1pPr>
            <a:lvl2pPr>
              <a:defRPr sz="2000">
                <a:solidFill>
                  <a:schemeClr val="bg1">
                    <a:lumMod val="50000"/>
                  </a:schemeClr>
                </a:solidFill>
                <a:latin typeface="Trebuchet MS" panose="020B0603020202020204" pitchFamily="34" charset="0"/>
              </a:defRPr>
            </a:lvl2pPr>
            <a:lvl3pPr>
              <a:defRPr sz="1800">
                <a:solidFill>
                  <a:schemeClr val="bg1">
                    <a:lumMod val="50000"/>
                  </a:schemeClr>
                </a:solidFill>
                <a:latin typeface="Trebuchet MS" panose="020B0603020202020204" pitchFamily="34" charset="0"/>
              </a:defRPr>
            </a:lvl3pPr>
            <a:lvl4pPr>
              <a:defRPr sz="1600">
                <a:solidFill>
                  <a:schemeClr val="bg1">
                    <a:lumMod val="50000"/>
                  </a:schemeClr>
                </a:solidFill>
                <a:latin typeface="Trebuchet MS" panose="020B0603020202020204" pitchFamily="34" charset="0"/>
              </a:defRPr>
            </a:lvl4pPr>
            <a:lvl5pPr>
              <a:defRPr sz="1600">
                <a:solidFill>
                  <a:schemeClr val="bg1">
                    <a:lumMod val="50000"/>
                  </a:schemeClr>
                </a:solidFill>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68B0C41-3748-45BA-AC12-3356750D6CCC}"/>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2BC5298-80C2-435C-BE19-55A311B75B0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1E8E2F2-0AF5-4302-9483-8FB2AC4A12E3}"/>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55490036"/>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1C76EB-EFA3-4D98-BF85-9CBAD51246C3}"/>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0F9218A-B816-4B5F-A0BE-D0AAD688BCDE}"/>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7792D18-2682-4285-9429-837643BCD1C7}"/>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31E5457F-D05E-4FBC-AA16-B4542B83380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3D20450F-F92F-43A7-B557-0485260B48E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20D495CD-0755-4CD0-952C-38FDFD81891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F756530E-6471-4A98-9409-D2870263549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sp>
        <p:nvSpPr>
          <p:cNvPr id="2" name="Title 1">
            <a:extLst>
              <a:ext uri="{FF2B5EF4-FFF2-40B4-BE49-F238E27FC236}">
                <a16:creationId xmlns:a16="http://schemas.microsoft.com/office/drawing/2014/main" id="{54E16744-0EC5-4409-8030-9D707EE1A1D6}"/>
              </a:ext>
            </a:extLst>
          </p:cNvPr>
          <p:cNvSpPr>
            <a:spLocks noGrp="1"/>
          </p:cNvSpPr>
          <p:nvPr>
            <p:ph type="title"/>
          </p:nvPr>
        </p:nvSpPr>
        <p:spPr>
          <a:xfrm>
            <a:off x="3744686" y="1709739"/>
            <a:ext cx="7602764" cy="1892300"/>
          </a:xfrm>
        </p:spPr>
        <p:txBody>
          <a:bodyPr anchor="ctr"/>
          <a:lstStyle>
            <a:lvl1pPr algn="ctr">
              <a:defRPr sz="4000">
                <a:solidFill>
                  <a:schemeClr val="bg1">
                    <a:lumMod val="50000"/>
                  </a:schemeClr>
                </a:solidFill>
                <a:latin typeface="Trebuchet MS" panose="020B0603020202020204" pitchFamily="34"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98CF225-F19A-40FE-9134-ADAC53A2CB8E}"/>
              </a:ext>
            </a:extLst>
          </p:cNvPr>
          <p:cNvSpPr>
            <a:spLocks noGrp="1"/>
          </p:cNvSpPr>
          <p:nvPr>
            <p:ph type="body" idx="1"/>
          </p:nvPr>
        </p:nvSpPr>
        <p:spPr>
          <a:xfrm>
            <a:off x="3744686" y="3649066"/>
            <a:ext cx="7602764" cy="980992"/>
          </a:xfrm>
        </p:spPr>
        <p:txBody>
          <a:bodyPr anchor="ctr">
            <a:normAutofit/>
          </a:bodyPr>
          <a:lstStyle>
            <a:lvl1pPr marL="0" indent="0" algn="ctr">
              <a:buNone/>
              <a:defRPr sz="2000">
                <a:solidFill>
                  <a:srgbClr val="0070C0"/>
                </a:solidFill>
                <a:latin typeface="Trebuchet MS" panose="020B0603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052890-A463-40F0-8781-AB9ECF34701B}"/>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B4EBFC2-28E7-4B50-9949-2BDA85E26B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0C98516-7864-4AE1-84EA-04757DF14368}"/>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4" name="Straight Connector 13">
            <a:extLst>
              <a:ext uri="{FF2B5EF4-FFF2-40B4-BE49-F238E27FC236}">
                <a16:creationId xmlns:a16="http://schemas.microsoft.com/office/drawing/2014/main" id="{709AA055-0DD5-4F16-B6C2-4900CC928098}"/>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2">
            <a:extLst>
              <a:ext uri="{FF2B5EF4-FFF2-40B4-BE49-F238E27FC236}">
                <a16:creationId xmlns:a16="http://schemas.microsoft.com/office/drawing/2014/main" id="{E31283E7-7320-432F-85EE-E596A3C714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382187"/>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8ED813-B8D0-48D3-B71C-48DF5BDC9A90}"/>
              </a:ext>
            </a:extLst>
          </p:cNvPr>
          <p:cNvSpPr/>
          <p:nvPr/>
        </p:nvSpPr>
        <p:spPr>
          <a:xfrm>
            <a:off x="0" y="0"/>
            <a:ext cx="471714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F0879C-37D2-4E04-A609-4FEBD2EB69A2}"/>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4C859E1-EF9A-419B-B3AC-AEA4B510D17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D14C3DBE-5B2C-4C2D-8079-CF803A046CD5}"/>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ECE1258E-5E7B-49D9-AB2A-3FCE6F2AE3D9}"/>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EF2A0B40-AB4B-42CA-AD19-364DF8432A34}"/>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5ACF1E32-F9E6-49E7-B655-4856AC619B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3355067-D68C-4E9D-814B-94F341ACA8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E56A77-566F-415D-85B3-C170D979EF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22F81A-5D76-4DBF-9DF9-92CD90E706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1F8005-F81C-45EB-B6F5-872E765EC87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2062E53F-F0E3-4A6E-B3B1-F5491F54889A}"/>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8B69BF3-2B4A-42F7-B934-99F11627F82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4511977"/>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94546B-A81A-48D4-B4C5-7E2E6285F424}"/>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9C06CAA-5E4F-43E2-8A98-36361486A3A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28E28CB-622A-4807-91B6-87A76E180121}"/>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3" name="Rectangle 12">
            <a:extLst>
              <a:ext uri="{FF2B5EF4-FFF2-40B4-BE49-F238E27FC236}">
                <a16:creationId xmlns:a16="http://schemas.microsoft.com/office/drawing/2014/main" id="{9C30D63E-AE12-491E-81E4-B3C25BA710A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4" name="Rectangle 13">
            <a:extLst>
              <a:ext uri="{FF2B5EF4-FFF2-40B4-BE49-F238E27FC236}">
                <a16:creationId xmlns:a16="http://schemas.microsoft.com/office/drawing/2014/main" id="{BEA4929A-0E7F-4B2B-81BC-6899210E604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5" name="Rectangle 14">
            <a:extLst>
              <a:ext uri="{FF2B5EF4-FFF2-40B4-BE49-F238E27FC236}">
                <a16:creationId xmlns:a16="http://schemas.microsoft.com/office/drawing/2014/main" id="{4C27A026-FFDC-4CB9-9AB8-BB4B31660FD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6" name="Picture 15">
            <a:extLst>
              <a:ext uri="{FF2B5EF4-FFF2-40B4-BE49-F238E27FC236}">
                <a16:creationId xmlns:a16="http://schemas.microsoft.com/office/drawing/2014/main" id="{CE0FBF31-43A4-4034-8688-BF6697211B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A67B1EE-D3B9-4A72-BB78-BEAFBE1FD6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C1261F-F460-4F19-99F4-F65B97B6FB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C84E1E-AD39-414E-A630-BB5F20BC8A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EA01E5-2430-4A1C-8323-5D191529BD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C4A9DA-01AC-4343-9532-A824358CD6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9BA755-AEE2-4001-8DE6-415A8DBF9673}"/>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a16="http://schemas.microsoft.com/office/drawing/2014/main" id="{823B665F-223D-495A-BDBB-E3363CAFC9D8}"/>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B19B297C-3F38-49A1-953B-17E3F6F667AE}"/>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87323960"/>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856098-1DA3-49E8-91B8-CAA5CDB7382E}"/>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AD2C0DA-73C9-4A83-97A2-EB4541745B6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83A0938-3C8A-4ACA-8AD0-352B444392A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9" name="Rectangle 8">
            <a:extLst>
              <a:ext uri="{FF2B5EF4-FFF2-40B4-BE49-F238E27FC236}">
                <a16:creationId xmlns:a16="http://schemas.microsoft.com/office/drawing/2014/main" id="{2FE9A254-00DC-4FF4-ABF3-8D548470A82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0" name="Rectangle 9">
            <a:extLst>
              <a:ext uri="{FF2B5EF4-FFF2-40B4-BE49-F238E27FC236}">
                <a16:creationId xmlns:a16="http://schemas.microsoft.com/office/drawing/2014/main" id="{27E83A17-368C-4CF3-93EE-956780C13754}"/>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1" name="Rectangle 10">
            <a:extLst>
              <a:ext uri="{FF2B5EF4-FFF2-40B4-BE49-F238E27FC236}">
                <a16:creationId xmlns:a16="http://schemas.microsoft.com/office/drawing/2014/main" id="{F86DDFCB-6B13-4853-B2B2-7FDD576847E1}"/>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2" name="Picture 11">
            <a:extLst>
              <a:ext uri="{FF2B5EF4-FFF2-40B4-BE49-F238E27FC236}">
                <a16:creationId xmlns:a16="http://schemas.microsoft.com/office/drawing/2014/main" id="{64C8E1E0-E974-41E1-9F43-DEF84D8A1F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634473C1-75AC-4CC3-97E1-56E2CDDB9E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27F37E-14E1-44B3-BCD8-AEBD153A14BA}"/>
              </a:ext>
            </a:extLst>
          </p:cNvPr>
          <p:cNvSpPr>
            <a:spLocks noGrp="1"/>
          </p:cNvSpPr>
          <p:nvPr>
            <p:ph type="dt" sz="half" idx="10"/>
          </p:nvPr>
        </p:nvSpPr>
        <p:spPr/>
        <p:txBody>
          <a:bodyPr/>
          <a:lstStyle/>
          <a:p>
            <a:fld id="{B53A7951-1658-4778-938E-2E6BDE9E7745}" type="datetimeFigureOut">
              <a:rPr lang="en-US" smtClean="0"/>
              <a:t>6/9/2021</a:t>
            </a:fld>
            <a:endParaRPr lang="en-US"/>
          </a:p>
        </p:txBody>
      </p:sp>
      <p:sp>
        <p:nvSpPr>
          <p:cNvPr id="4" name="Footer Placeholder 3">
            <a:extLst>
              <a:ext uri="{FF2B5EF4-FFF2-40B4-BE49-F238E27FC236}">
                <a16:creationId xmlns:a16="http://schemas.microsoft.com/office/drawing/2014/main" id="{3EEB09FB-ACF3-4E2F-B66D-3E13733A5B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D82C6C-9BFE-4C90-A547-8C325C55EAA2}"/>
              </a:ext>
            </a:extLst>
          </p:cNvPr>
          <p:cNvSpPr>
            <a:spLocks noGrp="1"/>
          </p:cNvSpPr>
          <p:nvPr>
            <p:ph type="sldNum" sz="quarter" idx="12"/>
          </p:nvPr>
        </p:nvSpPr>
        <p:spPr/>
        <p:txBody>
          <a:bodyPr/>
          <a:lstStyle/>
          <a:p>
            <a:fld id="{FB4F0EA5-8389-4884-A9A5-A844C62AB2F1}" type="slidenum">
              <a:rPr lang="en-US" smtClean="0"/>
              <a:t>‹#›</a:t>
            </a:fld>
            <a:endParaRPr lang="en-US"/>
          </a:p>
        </p:txBody>
      </p:sp>
    </p:spTree>
    <p:extLst>
      <p:ext uri="{BB962C8B-B14F-4D97-AF65-F5344CB8AC3E}">
        <p14:creationId xmlns:p14="http://schemas.microsoft.com/office/powerpoint/2010/main" val="19563688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FA0252-28E1-40E5-ACE6-20D14F5256B9}"/>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E618FD9-31FC-4567-B182-23204706A8B0}"/>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B29B7B4-B37A-4ECF-85D2-5A66AA4D9A3E}"/>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8" name="Rectangle 7">
            <a:extLst>
              <a:ext uri="{FF2B5EF4-FFF2-40B4-BE49-F238E27FC236}">
                <a16:creationId xmlns:a16="http://schemas.microsoft.com/office/drawing/2014/main" id="{CCF4FB33-76DE-4704-8B1A-C3FE16F507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9" name="Rectangle 8">
            <a:extLst>
              <a:ext uri="{FF2B5EF4-FFF2-40B4-BE49-F238E27FC236}">
                <a16:creationId xmlns:a16="http://schemas.microsoft.com/office/drawing/2014/main" id="{58A894C9-4BA3-403A-B5F2-D596A188AF2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0" name="Rectangle 9">
            <a:extLst>
              <a:ext uri="{FF2B5EF4-FFF2-40B4-BE49-F238E27FC236}">
                <a16:creationId xmlns:a16="http://schemas.microsoft.com/office/drawing/2014/main" id="{970B9174-D03E-4D6F-A8E5-B9D3C8C2DB80}"/>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1" name="Picture 10">
            <a:extLst>
              <a:ext uri="{FF2B5EF4-FFF2-40B4-BE49-F238E27FC236}">
                <a16:creationId xmlns:a16="http://schemas.microsoft.com/office/drawing/2014/main" id="{16EAC91E-9BE5-4729-AA9E-F5E9394A8D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Date Placeholder 1">
            <a:extLst>
              <a:ext uri="{FF2B5EF4-FFF2-40B4-BE49-F238E27FC236}">
                <a16:creationId xmlns:a16="http://schemas.microsoft.com/office/drawing/2014/main" id="{7839A89A-4F67-468F-80FE-0E3680B1A7D2}"/>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3" name="Footer Placeholder 2">
            <a:extLst>
              <a:ext uri="{FF2B5EF4-FFF2-40B4-BE49-F238E27FC236}">
                <a16:creationId xmlns:a16="http://schemas.microsoft.com/office/drawing/2014/main" id="{5C101976-8FCF-4B4F-B90A-B5E724625AE4}"/>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06AE299-AC97-4CB0-8712-61CB13DAB778}"/>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2226474012"/>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6CCC9-CB97-4066-B6DA-4148BB88F6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B6ECEE-E57D-455E-A22A-6DE67E6B8B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E2D1F0-214E-43F0-A7BC-42F93E547B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B125E7-FC1E-4111-8E29-520E9E6AFC29}"/>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856E390C-8CD6-41DF-B8A7-0EA86E70449B}"/>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24D1209-8122-481B-93F3-CD9D18358AD5}"/>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03642008"/>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812800" y="274638"/>
            <a:ext cx="10871200" cy="792163"/>
          </a:xfrm>
        </p:spPr>
        <p:txBody>
          <a:bodyPr>
            <a:normAutofit/>
          </a:bodyPr>
          <a:lstStyle>
            <a:lvl1pPr algn="l">
              <a:defRPr sz="3600">
                <a:solidFill>
                  <a:srgbClr val="0070C0"/>
                </a:solidFill>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219200"/>
            <a:ext cx="10972800" cy="5181600"/>
          </a:xfrm>
        </p:spPr>
        <p:txBody>
          <a:bodyPr>
            <a:normAutofit/>
          </a:bodyPr>
          <a:lstStyle>
            <a:lvl1pPr>
              <a:buFont typeface="Webdings" pitchFamily="18" charset="2"/>
              <a:buChar char="a"/>
              <a:defRPr sz="2800">
                <a:solidFill>
                  <a:schemeClr val="tx1"/>
                </a:solidFill>
                <a:latin typeface="Arial" pitchFamily="34" charset="0"/>
                <a:cs typeface="Arial" pitchFamily="34" charset="0"/>
              </a:defRPr>
            </a:lvl1pPr>
            <a:lvl2pPr>
              <a:defRPr sz="2400">
                <a:solidFill>
                  <a:schemeClr val="tx1"/>
                </a:solidFill>
                <a:latin typeface="Arial" pitchFamily="34" charset="0"/>
                <a:cs typeface="Arial" pitchFamily="34" charset="0"/>
              </a:defRPr>
            </a:lvl2pPr>
            <a:lvl3pPr>
              <a:defRPr sz="2000">
                <a:solidFill>
                  <a:schemeClr val="tx1"/>
                </a:solidFill>
                <a:latin typeface="Arial" pitchFamily="34" charset="0"/>
                <a:cs typeface="Arial" pitchFamily="34" charset="0"/>
              </a:defRPr>
            </a:lvl3pPr>
            <a:lvl4pPr>
              <a:defRPr sz="1800">
                <a:solidFill>
                  <a:schemeClr val="tx1"/>
                </a:solidFill>
                <a:latin typeface="Arial" pitchFamily="34" charset="0"/>
                <a:cs typeface="Arial" pitchFamily="34" charset="0"/>
              </a:defRPr>
            </a:lvl4pPr>
            <a:lvl5pPr>
              <a:defRPr sz="1800">
                <a:solidFill>
                  <a:schemeClr val="tx1"/>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11" name="Footer Placeholder 4"/>
          <p:cNvSpPr>
            <a:spLocks noGrp="1"/>
          </p:cNvSpPr>
          <p:nvPr>
            <p:ph type="ftr" sz="quarter" idx="11"/>
          </p:nvPr>
        </p:nvSpPr>
        <p:spPr/>
        <p:txBody>
          <a:bodyPr/>
          <a:lstStyle>
            <a:lvl1pPr>
              <a:defRPr/>
            </a:lvl1pPr>
          </a:lstStyle>
          <a:p>
            <a:endParaRPr lang="en-IN"/>
          </a:p>
        </p:txBody>
      </p:sp>
      <p:sp>
        <p:nvSpPr>
          <p:cNvPr id="12"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195305334"/>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1060-B002-4A29-A677-95E1A92CC3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A23B8C-6470-4EFE-BA18-C7C748C1CA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C14D961-FD3B-461E-A88E-64AC4821E6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4AF84C-0554-4D2A-95E2-84C361AAEDF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682BC5B5-70F3-4D7C-9421-4846A194AF8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040C9E27-8F16-42E6-B25A-6357B56B30CB}"/>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1953738"/>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B1346-0FB6-45C7-A96E-DBDDF4C7C0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29AF55-8DB4-4235-B18B-7CA1658AEA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F36DFF-55B4-41FE-BF5D-FC115ECB708B}"/>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B1B04A8-2C06-4BAA-A780-6380C576F998}"/>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A3476E6-F3EA-4F13-B40F-1978B532D33E}"/>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300805093"/>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DEE29A-7B74-4351-AF12-4B1C4A1C76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3DBD61-8BBB-4413-B521-69C6BA2EBD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B486CF-3404-43E2-AAB7-B052FC466837}"/>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37AE448-840B-441A-88AC-D0E89CE174B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3356B10-E457-4193-8E4C-4179814527E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3323123"/>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13499681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520499720"/>
      </p:ext>
    </p:extLst>
  </p:cSld>
  <p:clrMapOvr>
    <a:masterClrMapping/>
  </p:clrMapOvr>
  <p:transition spd="med">
    <p:push/>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3362097311"/>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7965260"/>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43037A93-DACB-4401-873D-0E6BB417A721}" type="datetimeFigureOut">
              <a:rPr lang="en-US" smtClean="0"/>
              <a:t>6/9/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EE74E9DE-A064-4967-AD5E-8AEB14326EC8}" type="slidenum">
              <a:rPr lang="en-US" smtClean="0"/>
              <a:t>‹#›</a:t>
            </a:fld>
            <a:endParaRPr lang="en-US" dirty="0"/>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2661220045"/>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43037A93-DACB-4401-873D-0E6BB417A721}" type="datetimeFigureOut">
              <a:rPr lang="en-US" smtClean="0"/>
              <a:t>6/9/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1097056862"/>
      </p:ext>
    </p:extLst>
  </p:cSld>
  <p:clrMapOvr>
    <a:masterClrMapping/>
  </p:clrMapOvr>
  <p:transition spd="slow">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8113"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85694717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0" y="228601"/>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963084" y="4406902"/>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2"/>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112" indent="0">
              <a:buNone/>
              <a:defRPr sz="1800">
                <a:solidFill>
                  <a:schemeClr val="tx1">
                    <a:tint val="75000"/>
                  </a:schemeClr>
                </a:solidFill>
              </a:defRPr>
            </a:lvl2pPr>
            <a:lvl3pPr marL="914225" indent="0">
              <a:buNone/>
              <a:defRPr sz="1600">
                <a:solidFill>
                  <a:schemeClr val="tx1">
                    <a:tint val="75000"/>
                  </a:schemeClr>
                </a:solidFill>
              </a:defRPr>
            </a:lvl3pPr>
            <a:lvl4pPr marL="1371337" indent="0">
              <a:buNone/>
              <a:defRPr sz="1400">
                <a:solidFill>
                  <a:schemeClr val="tx1">
                    <a:tint val="75000"/>
                  </a:schemeClr>
                </a:solidFill>
              </a:defRPr>
            </a:lvl4pPr>
            <a:lvl5pPr marL="1828449" indent="0">
              <a:buNone/>
              <a:defRPr sz="1400">
                <a:solidFill>
                  <a:schemeClr val="tx1">
                    <a:tint val="75000"/>
                  </a:schemeClr>
                </a:solidFill>
              </a:defRPr>
            </a:lvl5pPr>
            <a:lvl6pPr marL="2285561" indent="0">
              <a:buNone/>
              <a:defRPr sz="1400">
                <a:solidFill>
                  <a:schemeClr val="tx1">
                    <a:tint val="75000"/>
                  </a:schemeClr>
                </a:solidFill>
              </a:defRPr>
            </a:lvl6pPr>
            <a:lvl7pPr marL="2742674" indent="0">
              <a:buNone/>
              <a:defRPr sz="1400">
                <a:solidFill>
                  <a:schemeClr val="tx1">
                    <a:tint val="75000"/>
                  </a:schemeClr>
                </a:solidFill>
              </a:defRPr>
            </a:lvl7pPr>
            <a:lvl8pPr marL="3199785" indent="0">
              <a:buNone/>
              <a:defRPr sz="1400">
                <a:solidFill>
                  <a:schemeClr val="tx1">
                    <a:tint val="75000"/>
                  </a:schemeClr>
                </a:solidFill>
              </a:defRPr>
            </a:lvl8pPr>
            <a:lvl9pPr marL="3656897"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5328094"/>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41218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1868807"/>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05CF1095-26AB-4ECF-A963-5C34790DE886}" type="datetimeFigureOut">
              <a:rPr lang="en-US" smtClean="0"/>
              <a:t>6/9/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D483C0CD-571F-41E5-9617-171A18461DA8}" type="slidenum">
              <a:rPr lang="en-US" smtClean="0"/>
              <a:t>‹#›</a:t>
            </a:fld>
            <a:endParaRPr lang="en-US"/>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552762449"/>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05CF1095-26AB-4ECF-A963-5C34790DE886}" type="datetimeFigureOut">
              <a:rPr lang="en-US" smtClean="0"/>
              <a:t>6/9/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113328940"/>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0968508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71502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870122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Dark">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8651739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Pentagon 684"/>
          <p:cNvSpPr/>
          <p:nvPr/>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3103277975"/>
      </p:ext>
    </p:extLst>
  </p:cSld>
  <p:clrMapOvr>
    <a:masterClrMapping/>
  </p:clrMapOvr>
  <p:transition spd="slow">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83593568"/>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p:spPr>
        <p:txBody>
          <a:bodyPr>
            <a:normAutofit/>
          </a:bodyPr>
          <a:lstStyle>
            <a:lvl1pPr algn="l">
              <a:defRPr sz="3600"/>
            </a:lvl1pPr>
          </a:lstStyle>
          <a:p>
            <a:r>
              <a:rPr lang="en-US"/>
              <a:t>Click to edit Master title style</a:t>
            </a:r>
          </a:p>
        </p:txBody>
      </p:sp>
      <p:sp>
        <p:nvSpPr>
          <p:cNvPr id="3" name="Content Placeholder 2"/>
          <p:cNvSpPr>
            <a:spLocks noGrp="1"/>
          </p:cNvSpPr>
          <p:nvPr>
            <p:ph sz="half" idx="1"/>
          </p:nvPr>
        </p:nvSpPr>
        <p:spPr>
          <a:xfrm>
            <a:off x="609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4"/>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8" name="Footer Placeholder 5"/>
          <p:cNvSpPr>
            <a:spLocks noGrp="1"/>
          </p:cNvSpPr>
          <p:nvPr>
            <p:ph type="ftr" sz="quarter" idx="11"/>
          </p:nvPr>
        </p:nvSpPr>
        <p:spPr/>
        <p:txBody>
          <a:bodyPr/>
          <a:lstStyle>
            <a:lvl1pPr>
              <a:defRPr/>
            </a:lvl1pPr>
          </a:lstStyle>
          <a:p>
            <a:endParaRPr lang="en-IN"/>
          </a:p>
        </p:txBody>
      </p:sp>
      <p:sp>
        <p:nvSpPr>
          <p:cNvPr id="9" name="Slide Number Placeholder 6"/>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4159163046"/>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587621"/>
      </p:ext>
    </p:extLst>
  </p:cSld>
  <p:clrMapOvr>
    <a:masterClrMapping/>
  </p:clrMapOvr>
  <p:transition spd="slow">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7325778"/>
      </p:ext>
    </p:extLst>
  </p:cSld>
  <p:clrMapOvr>
    <a:masterClrMapping/>
  </p:clrMapOvr>
  <p:transition spd="med">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0" name="Rectangle 9"/>
          <p:cNvSpPr/>
          <p:nvPr/>
        </p:nvSpPr>
        <p:spPr>
          <a:xfrm>
            <a:off x="0" y="0"/>
            <a:ext cx="12192000" cy="32949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8691879"/>
      </p:ext>
    </p:extLst>
  </p:cSld>
  <p:clrMapOvr>
    <a:masterClrMapping/>
  </p:clrMapOvr>
  <p:transition spd="med">
    <p:push/>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1173707"/>
            <a:ext cx="12192000" cy="5459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3220802"/>
      </p:ext>
    </p:extLst>
  </p:cSld>
  <p:clrMapOvr>
    <a:masterClrMapping/>
  </p:clrMapOvr>
  <p:transition spd="med">
    <p:push/>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4333362"/>
      </p:ext>
    </p:extLst>
  </p:cSld>
  <p:clrMapOvr>
    <a:masterClrMapping/>
  </p:clrMapOvr>
  <p:transition spd="med">
    <p:push/>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3876572061"/>
      </p:ext>
    </p:extLst>
  </p:cSld>
  <p:clrMapOvr>
    <a:masterClrMapping/>
  </p:clrMapOvr>
  <p:transition spd="med">
    <p:push/>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3446953908"/>
      </p:ext>
    </p:extLst>
  </p:cSld>
  <p:clrMapOvr>
    <a:masterClrMapping/>
  </p:clrMapOvr>
  <p:transition spd="med">
    <p:push/>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solidFill>
                  <a:prstClr val="black">
                    <a:tint val="75000"/>
                  </a:prstClr>
                </a:solidFill>
              </a:rPr>
              <a:pPr/>
              <a:t>9/6/2021</a:t>
            </a:fld>
            <a:endParaRPr lang="en-US" dirty="0">
              <a:solidFill>
                <a:prstClr val="black">
                  <a:tint val="75000"/>
                </a:prstClr>
              </a:solidFill>
            </a:endParaRPr>
          </a:p>
        </p:txBody>
      </p:sp>
      <p:sp>
        <p:nvSpPr>
          <p:cNvPr id="7" name="Footer Placeholder 4"/>
          <p:cNvSpPr>
            <a:spLocks noGrp="1"/>
          </p:cNvSpPr>
          <p:nvPr>
            <p:ph type="ftr" sz="quarter" idx="11"/>
          </p:nvPr>
        </p:nvSpPr>
        <p:spPr/>
        <p:txBody>
          <a:bodyPr/>
          <a:lstStyle>
            <a:lvl1pPr>
              <a:defRPr/>
            </a:lvl1pPr>
          </a:lstStyle>
          <a:p>
            <a:endParaRPr lang="en-US" dirty="0">
              <a:solidFill>
                <a:prstClr val="black">
                  <a:tint val="75000"/>
                </a:prstClr>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4286141"/>
      </p:ext>
    </p:extLst>
  </p:cSld>
  <p:clrMapOvr>
    <a:masterClrMapping/>
  </p:clrMapOvr>
  <p:transition spd="med">
    <p:push/>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1411938404"/>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1765"/>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pPr/>
              <a:t>9/6/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2353" dirty="0"/>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pPr/>
              <a:t>‹#›</a:t>
            </a:fld>
            <a:endParaRPr lang="en-US"/>
          </a:p>
        </p:txBody>
      </p:sp>
    </p:spTree>
    <p:extLst>
      <p:ext uri="{BB962C8B-B14F-4D97-AF65-F5344CB8AC3E}">
        <p14:creationId xmlns:p14="http://schemas.microsoft.com/office/powerpoint/2010/main" val="3474844376"/>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p:nvSpPr>
        <p:spPr>
          <a:xfrm>
            <a:off x="508000" y="381000"/>
            <a:ext cx="304800" cy="609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609600" y="381000"/>
            <a:ext cx="10972800" cy="609600"/>
          </a:xfrm>
        </p:spPr>
        <p:txBody>
          <a:bodyPr>
            <a:no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609600" y="1143001"/>
            <a:ext cx="5386917"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3"/>
            <a:ext cx="5386917"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143001"/>
            <a:ext cx="5389034"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1782763"/>
            <a:ext cx="5389034"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6"/>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10" name="Footer Placeholder 7"/>
          <p:cNvSpPr>
            <a:spLocks noGrp="1"/>
          </p:cNvSpPr>
          <p:nvPr>
            <p:ph type="ftr" sz="quarter" idx="11"/>
          </p:nvPr>
        </p:nvSpPr>
        <p:spPr/>
        <p:txBody>
          <a:bodyPr/>
          <a:lstStyle>
            <a:lvl1pPr>
              <a:defRPr/>
            </a:lvl1pPr>
          </a:lstStyle>
          <a:p>
            <a:endParaRPr lang="en-IN"/>
          </a:p>
        </p:txBody>
      </p:sp>
      <p:sp>
        <p:nvSpPr>
          <p:cNvPr id="11" name="Slide Number Placeholder 8"/>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4294717613"/>
      </p:ext>
    </p:extLst>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8B1D9D-BE9D-4DD8-B9E6-7FEB60B3E3CD}" type="datetime1">
              <a:rPr lang="en-US" smtClean="0"/>
              <a:pPr/>
              <a:t>6/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AF950FA-1B5C-4FC6-94D2-10A138D941FD}" type="slidenum">
              <a:rPr lang="en-US" smtClean="0"/>
              <a:pPr/>
              <a:t>‹#›</a:t>
            </a:fld>
            <a:endParaRPr lang="en-US"/>
          </a:p>
        </p:txBody>
      </p:sp>
    </p:spTree>
    <p:extLst>
      <p:ext uri="{BB962C8B-B14F-4D97-AF65-F5344CB8AC3E}">
        <p14:creationId xmlns:p14="http://schemas.microsoft.com/office/powerpoint/2010/main" val="12540289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4000"/>
            </a:lvl1pPr>
          </a:lstStyle>
          <a:p>
            <a:r>
              <a:rPr lang="en-US"/>
              <a:t>Click to edit Master title style</a:t>
            </a:r>
          </a:p>
        </p:txBody>
      </p:sp>
      <p:sp>
        <p:nvSpPr>
          <p:cNvPr id="3" name="Vertical Text Placeholder 2"/>
          <p:cNvSpPr>
            <a:spLocks noGrp="1"/>
          </p:cNvSpPr>
          <p:nvPr>
            <p:ph type="body" orient="vert" idx="1"/>
          </p:nvPr>
        </p:nvSpPr>
        <p:spPr>
          <a:xfrm>
            <a:off x="4470400" y="1066800"/>
            <a:ext cx="71120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5" name="Footer Placeholder 4"/>
          <p:cNvSpPr>
            <a:spLocks noGrp="1"/>
          </p:cNvSpPr>
          <p:nvPr>
            <p:ph type="ftr" sz="quarter" idx="11"/>
          </p:nvPr>
        </p:nvSpPr>
        <p:spPr/>
        <p:txBody>
          <a:bodyPr/>
          <a:lstStyle>
            <a:lvl1pPr>
              <a:defRPr/>
            </a:lvl1pPr>
          </a:lstStyle>
          <a:p>
            <a:endParaRPr lang="en-IN"/>
          </a:p>
        </p:txBody>
      </p:sp>
      <p:sp>
        <p:nvSpPr>
          <p:cNvPr id="6"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4087949208"/>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heme" Target="../theme/theme2.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heme" Target="../theme/theme3.xml"/><Relationship Id="rId5" Type="http://schemas.openxmlformats.org/officeDocument/2006/relationships/slideLayout" Target="../slideLayouts/slideLayout60.xml"/><Relationship Id="rId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4.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5.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8"/>
            <a:ext cx="109728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FE085A-AA42-4340-A13F-762F52402DBA}" type="datetimeFigureOut">
              <a:rPr lang="en-IN" smtClean="0"/>
              <a:t>09-06-2021</a:t>
            </a:fld>
            <a:endParaRPr lang="en-IN"/>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15576651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739" r:id="rId36"/>
    <p:sldLayoutId id="2147483740" r:id="rId37"/>
    <p:sldLayoutId id="2147483741" r:id="rId38"/>
    <p:sldLayoutId id="2147483742" r:id="rId39"/>
    <p:sldLayoutId id="2147483743" r:id="rId40"/>
    <p:sldLayoutId id="2147483744" r:id="rId41"/>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112" algn="ctr" rtl="0" eaLnBrk="1" fontAlgn="base" hangingPunct="1">
        <a:spcBef>
          <a:spcPct val="0"/>
        </a:spcBef>
        <a:spcAft>
          <a:spcPct val="0"/>
        </a:spcAft>
        <a:defRPr sz="4400">
          <a:solidFill>
            <a:schemeClr val="bg1"/>
          </a:solidFill>
          <a:latin typeface="Calibri" pitchFamily="34" charset="0"/>
        </a:defRPr>
      </a:lvl6pPr>
      <a:lvl7pPr marL="914225" algn="ctr" rtl="0" eaLnBrk="1" fontAlgn="base" hangingPunct="1">
        <a:spcBef>
          <a:spcPct val="0"/>
        </a:spcBef>
        <a:spcAft>
          <a:spcPct val="0"/>
        </a:spcAft>
        <a:defRPr sz="4400">
          <a:solidFill>
            <a:schemeClr val="bg1"/>
          </a:solidFill>
          <a:latin typeface="Calibri" pitchFamily="34" charset="0"/>
        </a:defRPr>
      </a:lvl7pPr>
      <a:lvl8pPr marL="1371337" algn="ctr" rtl="0" eaLnBrk="1" fontAlgn="base" hangingPunct="1">
        <a:spcBef>
          <a:spcPct val="0"/>
        </a:spcBef>
        <a:spcAft>
          <a:spcPct val="0"/>
        </a:spcAft>
        <a:defRPr sz="4400">
          <a:solidFill>
            <a:schemeClr val="bg1"/>
          </a:solidFill>
          <a:latin typeface="Calibri" pitchFamily="34" charset="0"/>
        </a:defRPr>
      </a:lvl8pPr>
      <a:lvl9pPr marL="1828449" algn="ctr" rtl="0" eaLnBrk="1" fontAlgn="base" hangingPunct="1">
        <a:spcBef>
          <a:spcPct val="0"/>
        </a:spcBef>
        <a:spcAft>
          <a:spcPct val="0"/>
        </a:spcAft>
        <a:defRPr sz="4400">
          <a:solidFill>
            <a:schemeClr val="bg1"/>
          </a:solidFill>
          <a:latin typeface="Calibri" pitchFamily="34" charset="0"/>
        </a:defRPr>
      </a:lvl9pPr>
    </p:titleStyle>
    <p:bodyStyle>
      <a:lvl1pPr marL="342834" indent="-342834"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808" indent="-285695"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2781"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599893"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005"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2EF02-B3FB-409B-B71D-7DB59224D0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D66FC5-8BC1-45FA-8841-F34FA58FDF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07B98F-173F-4961-A753-124D5F25AE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9DB7A21-CD9E-479E-AAB2-6CC376E9F6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6ABC126-58FF-4F4D-A936-FEFCC877EF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36151415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transition spd="slow">
    <p:fad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037A93-DACB-4401-873D-0E6BB417A721}" type="datetimeFigureOut">
              <a:rPr lang="en-US" smtClean="0"/>
              <a:t>6/9/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74E9DE-A064-4967-AD5E-8AEB14326EC8}" type="slidenum">
              <a:rPr lang="en-US" smtClean="0"/>
              <a:t>‹#›</a:t>
            </a:fld>
            <a:endParaRPr lang="en-US"/>
          </a:p>
        </p:txBody>
      </p:sp>
    </p:spTree>
    <p:extLst>
      <p:ext uri="{BB962C8B-B14F-4D97-AF65-F5344CB8AC3E}">
        <p14:creationId xmlns:p14="http://schemas.microsoft.com/office/powerpoint/2010/main" val="374616146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Lst>
  <p:transition spd="slow">
    <p:fade/>
  </p:transition>
  <p:hf hdr="0" ft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CF1095-26AB-4ECF-A963-5C34790DE886}" type="datetimeFigureOut">
              <a:rPr lang="en-US" smtClean="0"/>
              <a:t>6/9/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3C0CD-571F-41E5-9617-171A18461DA8}" type="slidenum">
              <a:rPr lang="en-US" smtClean="0"/>
              <a:t>‹#›</a:t>
            </a:fld>
            <a:endParaRPr lang="en-US"/>
          </a:p>
        </p:txBody>
      </p:sp>
    </p:spTree>
    <p:extLst>
      <p:ext uri="{BB962C8B-B14F-4D97-AF65-F5344CB8AC3E}">
        <p14:creationId xmlns:p14="http://schemas.microsoft.com/office/powerpoint/2010/main" val="211846177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08E056-43B6-483A-BF07-52D50277A817}" type="datetimeFigureOut">
              <a:rPr lang="en-US" smtClean="0"/>
              <a:pPr/>
              <a:t>6/9/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422845684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Lst>
  <p:transition spd="med">
    <p:push/>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30.png"/><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www.avaelgo.ro/" TargetMode="External"/><Relationship Id="rId7"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hyperlink" Target="http://community.itcamp.ro/" TargetMode="External"/><Relationship Id="rId4" Type="http://schemas.openxmlformats.org/officeDocument/2006/relationships/hyperlink" Target="http://www.itcamp.ro/"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2.xml"/><Relationship Id="rId1" Type="http://schemas.openxmlformats.org/officeDocument/2006/relationships/slideLayout" Target="../slideLayouts/slideLayout36.xml"/><Relationship Id="rId5" Type="http://schemas.openxmlformats.org/officeDocument/2006/relationships/image" Target="../media/image1.png"/><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8" Type="http://schemas.openxmlformats.org/officeDocument/2006/relationships/hyperlink" Target="https://docs.microsoft.com/en-us/azure/architecture/patterns/queue-based-load-leveling" TargetMode="External"/><Relationship Id="rId3" Type="http://schemas.openxmlformats.org/officeDocument/2006/relationships/hyperlink" Target="https://docs.microsoft.com/en-us/azure/architecture/patterns/bulkhead" TargetMode="External"/><Relationship Id="rId7" Type="http://schemas.openxmlformats.org/officeDocument/2006/relationships/hyperlink" Target="https://docs.microsoft.com/en-us/azure/architecture/patterns/leader-election"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hyperlink" Target="https://docs.microsoft.com/en-us/azure/architecture/patterns/health-endpoint-monitoring" TargetMode="External"/><Relationship Id="rId5" Type="http://schemas.openxmlformats.org/officeDocument/2006/relationships/hyperlink" Target="https://docs.microsoft.com/en-us/azure/architecture/patterns/compensating-transaction" TargetMode="External"/><Relationship Id="rId10" Type="http://schemas.openxmlformats.org/officeDocument/2006/relationships/hyperlink" Target="https://docs.microsoft.com/en-us/azure/architecture/patterns/scheduler-agent-supervisor" TargetMode="External"/><Relationship Id="rId4" Type="http://schemas.openxmlformats.org/officeDocument/2006/relationships/hyperlink" Target="https://docs.microsoft.com/en-us/azure/architecture/patterns/circuit-breaker" TargetMode="External"/><Relationship Id="rId9" Type="http://schemas.openxmlformats.org/officeDocument/2006/relationships/hyperlink" Target="https://docs.microsoft.com/en-us/azure/architecture/patterns/retry"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40.xml"/><Relationship Id="rId4" Type="http://schemas.openxmlformats.org/officeDocument/2006/relationships/image" Target="../media/image41.svg"/></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44.png"/><Relationship Id="rId4" Type="http://schemas.openxmlformats.org/officeDocument/2006/relationships/image" Target="../media/image43.png"/></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55.png"/><Relationship Id="rId4" Type="http://schemas.openxmlformats.org/officeDocument/2006/relationships/image" Target="../media/image54.png"/></Relationships>
</file>

<file path=ppt/slides/_rels/slide4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58.png"/><Relationship Id="rId4" Type="http://schemas.openxmlformats.org/officeDocument/2006/relationships/image" Target="../media/image57.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62.png"/><Relationship Id="rId4" Type="http://schemas.openxmlformats.org/officeDocument/2006/relationships/image" Target="../media/image61.png"/></Relationships>
</file>

<file path=ppt/slides/_rels/slide5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 Id="rId4" Type="http://schemas.openxmlformats.org/officeDocument/2006/relationships/image" Target="../media/image66.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40.png"/><Relationship Id="rId7" Type="http://schemas.openxmlformats.org/officeDocument/2006/relationships/hyperlink" Target="https://aka.ms/architecture/framework" TargetMode="External"/><Relationship Id="rId2" Type="http://schemas.openxmlformats.org/officeDocument/2006/relationships/notesSlide" Target="../notesSlides/notesSlide33.xml"/><Relationship Id="rId1" Type="http://schemas.openxmlformats.org/officeDocument/2006/relationships/slideLayout" Target="../slideLayouts/slideLayout37.xml"/><Relationship Id="rId6" Type="http://schemas.openxmlformats.org/officeDocument/2006/relationships/hyperlink" Target="https://aka.ms/ArchitectureCenter" TargetMode="External"/><Relationship Id="rId5" Type="http://schemas.openxmlformats.org/officeDocument/2006/relationships/image" Target="../media/image67.png"/><Relationship Id="rId4" Type="http://schemas.openxmlformats.org/officeDocument/2006/relationships/image" Target="../media/image41.sv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B297F-BC7D-4520-8883-6FD4A1EC3092}"/>
              </a:ext>
            </a:extLst>
          </p:cNvPr>
          <p:cNvSpPr>
            <a:spLocks noGrp="1"/>
          </p:cNvSpPr>
          <p:nvPr>
            <p:ph type="title"/>
          </p:nvPr>
        </p:nvSpPr>
        <p:spPr>
          <a:xfrm>
            <a:off x="914400" y="1630810"/>
            <a:ext cx="10363200" cy="1362075"/>
          </a:xfrm>
        </p:spPr>
        <p:txBody>
          <a:bodyPr>
            <a:normAutofit/>
          </a:bodyPr>
          <a:lstStyle/>
          <a:p>
            <a:r>
              <a:rPr lang="en-IN" dirty="0">
                <a:solidFill>
                  <a:schemeClr val="tx1"/>
                </a:solidFill>
              </a:rPr>
              <a:t>Designing resilient applications for cloud</a:t>
            </a:r>
          </a:p>
        </p:txBody>
      </p:sp>
      <p:sp>
        <p:nvSpPr>
          <p:cNvPr id="4" name="Text Placeholder 3">
            <a:extLst>
              <a:ext uri="{FF2B5EF4-FFF2-40B4-BE49-F238E27FC236}">
                <a16:creationId xmlns:a16="http://schemas.microsoft.com/office/drawing/2014/main" id="{97653635-A7DE-4943-86D8-C24BFE598132}"/>
              </a:ext>
            </a:extLst>
          </p:cNvPr>
          <p:cNvSpPr>
            <a:spLocks noGrp="1"/>
          </p:cNvSpPr>
          <p:nvPr>
            <p:ph type="body" idx="1"/>
          </p:nvPr>
        </p:nvSpPr>
        <p:spPr>
          <a:xfrm>
            <a:off x="914400" y="4282549"/>
            <a:ext cx="10363200" cy="1618841"/>
          </a:xfrm>
        </p:spPr>
        <p:txBody>
          <a:bodyPr/>
          <a:lstStyle/>
          <a:p>
            <a:pPr algn="l"/>
            <a:r>
              <a:rPr lang="en-IN" sz="2800" dirty="0">
                <a:solidFill>
                  <a:schemeClr val="bg1"/>
                </a:solidFill>
              </a:rPr>
              <a:t>Mihai Tataran</a:t>
            </a:r>
          </a:p>
          <a:p>
            <a:pPr algn="l"/>
            <a:r>
              <a:rPr lang="en-IN" sz="2000" dirty="0">
                <a:solidFill>
                  <a:schemeClr val="bg1"/>
                </a:solidFill>
              </a:rPr>
              <a:t>General Manager @Avaelgo </a:t>
            </a:r>
          </a:p>
          <a:p>
            <a:pPr algn="l"/>
            <a:r>
              <a:rPr lang="en-IN" sz="2000" dirty="0">
                <a:solidFill>
                  <a:schemeClr val="bg1"/>
                </a:solidFill>
              </a:rPr>
              <a:t>Microsoft Regional Director and Azure MVP</a:t>
            </a:r>
          </a:p>
        </p:txBody>
      </p:sp>
    </p:spTree>
    <p:extLst>
      <p:ext uri="{BB962C8B-B14F-4D97-AF65-F5344CB8AC3E}">
        <p14:creationId xmlns:p14="http://schemas.microsoft.com/office/powerpoint/2010/main" val="2200025703"/>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84FBD-84D1-40F9-A42B-7B9269A65A84}"/>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Metrics to measure resilience</a:t>
            </a:r>
          </a:p>
        </p:txBody>
      </p:sp>
      <p:graphicFrame>
        <p:nvGraphicFramePr>
          <p:cNvPr id="7" name="Content Placeholder 2">
            <a:extLst>
              <a:ext uri="{FF2B5EF4-FFF2-40B4-BE49-F238E27FC236}">
                <a16:creationId xmlns:a16="http://schemas.microsoft.com/office/drawing/2014/main" id="{3C8BD67F-B856-44C0-9876-9FDD5BF81C83}"/>
              </a:ext>
            </a:extLst>
          </p:cNvPr>
          <p:cNvGraphicFramePr>
            <a:graphicFrameLocks noGrp="1"/>
          </p:cNvGraphicFramePr>
          <p:nvPr>
            <p:ph idx="1"/>
            <p:extLst>
              <p:ext uri="{D42A27DB-BD31-4B8C-83A1-F6EECF244321}">
                <p14:modId xmlns:p14="http://schemas.microsoft.com/office/powerpoint/2010/main" val="3342346440"/>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400852"/>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E2E7C-7B29-4F36-973E-541210003B71}"/>
              </a:ext>
            </a:extLst>
          </p:cNvPr>
          <p:cNvSpPr>
            <a:spLocks noGrp="1"/>
          </p:cNvSpPr>
          <p:nvPr>
            <p:ph type="title"/>
          </p:nvPr>
        </p:nvSpPr>
        <p:spPr/>
        <p:txBody>
          <a:bodyPr/>
          <a:lstStyle/>
          <a:p>
            <a:r>
              <a:rPr lang="en-IN" dirty="0"/>
              <a:t>Understand Application Availability requirements</a:t>
            </a:r>
          </a:p>
        </p:txBody>
      </p:sp>
      <p:sp>
        <p:nvSpPr>
          <p:cNvPr id="3" name="Content Placeholder 2">
            <a:extLst>
              <a:ext uri="{FF2B5EF4-FFF2-40B4-BE49-F238E27FC236}">
                <a16:creationId xmlns:a16="http://schemas.microsoft.com/office/drawing/2014/main" id="{AFC158A3-ADB7-4357-9B3D-1F97E115D47A}"/>
              </a:ext>
            </a:extLst>
          </p:cNvPr>
          <p:cNvSpPr>
            <a:spLocks noGrp="1"/>
          </p:cNvSpPr>
          <p:nvPr>
            <p:ph idx="1"/>
          </p:nvPr>
        </p:nvSpPr>
        <p:spPr/>
        <p:txBody>
          <a:bodyPr/>
          <a:lstStyle/>
          <a:p>
            <a:r>
              <a:rPr lang="en-IN" dirty="0"/>
              <a:t>How much downtime is acceptable?</a:t>
            </a:r>
          </a:p>
          <a:p>
            <a:r>
              <a:rPr lang="en-IN" dirty="0"/>
              <a:t>How much will potential downtime cost the business?</a:t>
            </a:r>
          </a:p>
          <a:p>
            <a:r>
              <a:rPr lang="en-IN" dirty="0"/>
              <a:t>How much money and time can the business realistically invest in making the application highly available?</a:t>
            </a:r>
          </a:p>
          <a:p>
            <a:r>
              <a:rPr lang="en-IN" dirty="0"/>
              <a:t>How about performance and scaling?</a:t>
            </a:r>
          </a:p>
          <a:p>
            <a:endParaRPr lang="en-IN" dirty="0"/>
          </a:p>
          <a:p>
            <a:r>
              <a:rPr lang="en-IN" dirty="0"/>
              <a:t>Understand the major stakeholders</a:t>
            </a:r>
          </a:p>
          <a:p>
            <a:pPr lvl="1"/>
            <a:r>
              <a:rPr lang="en-IN" dirty="0"/>
              <a:t>Internal / External Customers of the Application</a:t>
            </a:r>
          </a:p>
          <a:p>
            <a:pPr lvl="1"/>
            <a:r>
              <a:rPr lang="en-IN" dirty="0"/>
              <a:t>Cloud Ops, DevOps</a:t>
            </a:r>
          </a:p>
          <a:p>
            <a:pPr lvl="1"/>
            <a:r>
              <a:rPr lang="en-IN" dirty="0"/>
              <a:t>SRE</a:t>
            </a:r>
          </a:p>
        </p:txBody>
      </p:sp>
    </p:spTree>
    <p:extLst>
      <p:ext uri="{BB962C8B-B14F-4D97-AF65-F5344CB8AC3E}">
        <p14:creationId xmlns:p14="http://schemas.microsoft.com/office/powerpoint/2010/main" val="1025161724"/>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24A44-16CB-460B-8889-5F40E51971D0}"/>
              </a:ext>
            </a:extLst>
          </p:cNvPr>
          <p:cNvSpPr>
            <a:spLocks noGrp="1"/>
          </p:cNvSpPr>
          <p:nvPr>
            <p:ph type="title"/>
          </p:nvPr>
        </p:nvSpPr>
        <p:spPr/>
        <p:txBody>
          <a:bodyPr>
            <a:normAutofit fontScale="90000"/>
          </a:bodyPr>
          <a:lstStyle/>
          <a:p>
            <a:r>
              <a:rPr lang="en-IN" dirty="0"/>
              <a:t>Understand SLAs</a:t>
            </a:r>
            <a:br>
              <a:rPr lang="en-IN" dirty="0"/>
            </a:br>
            <a:r>
              <a:rPr lang="en-IN" sz="2800" dirty="0"/>
              <a:t>SLA describes commitment regarding uptime and connectivity</a:t>
            </a:r>
            <a:endParaRPr lang="en-IN" dirty="0"/>
          </a:p>
        </p:txBody>
      </p:sp>
      <p:sp>
        <p:nvSpPr>
          <p:cNvPr id="3" name="Content Placeholder 2">
            <a:extLst>
              <a:ext uri="{FF2B5EF4-FFF2-40B4-BE49-F238E27FC236}">
                <a16:creationId xmlns:a16="http://schemas.microsoft.com/office/drawing/2014/main" id="{4C8EADC8-D05C-4BAC-9BE7-919A70F31F34}"/>
              </a:ext>
            </a:extLst>
          </p:cNvPr>
          <p:cNvSpPr>
            <a:spLocks noGrp="1"/>
          </p:cNvSpPr>
          <p:nvPr>
            <p:ph idx="1"/>
          </p:nvPr>
        </p:nvSpPr>
        <p:spPr/>
        <p:txBody>
          <a:bodyPr/>
          <a:lstStyle/>
          <a:p>
            <a:endParaRPr lang="en-IN"/>
          </a:p>
        </p:txBody>
      </p:sp>
      <p:pic>
        <p:nvPicPr>
          <p:cNvPr id="4" name="Picture 3">
            <a:extLst>
              <a:ext uri="{FF2B5EF4-FFF2-40B4-BE49-F238E27FC236}">
                <a16:creationId xmlns:a16="http://schemas.microsoft.com/office/drawing/2014/main" id="{F6C7D803-EFF8-4224-9B50-6F1AE70AA3DB}"/>
              </a:ext>
            </a:extLst>
          </p:cNvPr>
          <p:cNvPicPr>
            <a:picLocks noChangeAspect="1"/>
          </p:cNvPicPr>
          <p:nvPr/>
        </p:nvPicPr>
        <p:blipFill>
          <a:blip r:embed="rId2"/>
          <a:stretch>
            <a:fillRect/>
          </a:stretch>
        </p:blipFill>
        <p:spPr>
          <a:xfrm>
            <a:off x="432756" y="2207045"/>
            <a:ext cx="11106150" cy="3810000"/>
          </a:xfrm>
          <a:prstGeom prst="rect">
            <a:avLst/>
          </a:prstGeom>
        </p:spPr>
      </p:pic>
    </p:spTree>
    <p:extLst>
      <p:ext uri="{BB962C8B-B14F-4D97-AF65-F5344CB8AC3E}">
        <p14:creationId xmlns:p14="http://schemas.microsoft.com/office/powerpoint/2010/main" val="1263490907"/>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7FA4D-6C9A-419D-AB1A-769D492DA7E6}"/>
              </a:ext>
            </a:extLst>
          </p:cNvPr>
          <p:cNvSpPr>
            <a:spLocks noGrp="1"/>
          </p:cNvSpPr>
          <p:nvPr>
            <p:ph type="title"/>
          </p:nvPr>
        </p:nvSpPr>
        <p:spPr/>
        <p:txBody>
          <a:bodyPr/>
          <a:lstStyle/>
          <a:p>
            <a:r>
              <a:rPr lang="en-IN" dirty="0"/>
              <a:t>Composite SLAs</a:t>
            </a:r>
          </a:p>
        </p:txBody>
      </p:sp>
      <p:sp>
        <p:nvSpPr>
          <p:cNvPr id="3" name="Content Placeholder 2">
            <a:extLst>
              <a:ext uri="{FF2B5EF4-FFF2-40B4-BE49-F238E27FC236}">
                <a16:creationId xmlns:a16="http://schemas.microsoft.com/office/drawing/2014/main" id="{8B3CF46C-703C-43F1-A884-FE35709A12E2}"/>
              </a:ext>
            </a:extLst>
          </p:cNvPr>
          <p:cNvSpPr>
            <a:spLocks noGrp="1"/>
          </p:cNvSpPr>
          <p:nvPr>
            <p:ph idx="1"/>
          </p:nvPr>
        </p:nvSpPr>
        <p:spPr>
          <a:xfrm>
            <a:off x="609600" y="1371600"/>
            <a:ext cx="4935538" cy="5486400"/>
          </a:xfrm>
        </p:spPr>
        <p:txBody>
          <a:bodyPr/>
          <a:lstStyle/>
          <a:p>
            <a:r>
              <a:rPr lang="en-IN" dirty="0"/>
              <a:t>Application with multiple services that have different SLAs adds complexity</a:t>
            </a:r>
          </a:p>
          <a:p>
            <a:r>
              <a:rPr lang="en-IN" dirty="0"/>
              <a:t>Need to calculate a composite SLA</a:t>
            </a:r>
          </a:p>
          <a:p>
            <a:r>
              <a:rPr lang="en-IN" dirty="0"/>
              <a:t>Composite SLA can be improved by creating independent fallback paths for services likely to fail</a:t>
            </a:r>
          </a:p>
        </p:txBody>
      </p:sp>
      <p:pic>
        <p:nvPicPr>
          <p:cNvPr id="6" name="Content Placeholder 5">
            <a:extLst>
              <a:ext uri="{FF2B5EF4-FFF2-40B4-BE49-F238E27FC236}">
                <a16:creationId xmlns:a16="http://schemas.microsoft.com/office/drawing/2014/main" id="{8F42C4C6-2460-4FDA-B8ED-7CEDB3CB8B3B}"/>
              </a:ext>
            </a:extLst>
          </p:cNvPr>
          <p:cNvPicPr>
            <a:picLocks noGrp="1" noChangeAspect="1"/>
          </p:cNvPicPr>
          <p:nvPr>
            <p:ph sz="half" idx="4294967295"/>
          </p:nvPr>
        </p:nvPicPr>
        <p:blipFill>
          <a:blip r:embed="rId3"/>
          <a:stretch>
            <a:fillRect/>
          </a:stretch>
        </p:blipFill>
        <p:spPr>
          <a:xfrm>
            <a:off x="6430179" y="1545992"/>
            <a:ext cx="5545137" cy="1604963"/>
          </a:xfrm>
        </p:spPr>
      </p:pic>
      <p:sp>
        <p:nvSpPr>
          <p:cNvPr id="7" name="TextBox 6">
            <a:extLst>
              <a:ext uri="{FF2B5EF4-FFF2-40B4-BE49-F238E27FC236}">
                <a16:creationId xmlns:a16="http://schemas.microsoft.com/office/drawing/2014/main" id="{4362541D-545D-4099-8B90-96ECF0D1A363}"/>
              </a:ext>
            </a:extLst>
          </p:cNvPr>
          <p:cNvSpPr txBox="1"/>
          <p:nvPr/>
        </p:nvSpPr>
        <p:spPr>
          <a:xfrm>
            <a:off x="6430179" y="1130159"/>
            <a:ext cx="3472746" cy="369332"/>
          </a:xfrm>
          <a:prstGeom prst="rect">
            <a:avLst/>
          </a:prstGeom>
          <a:noFill/>
        </p:spPr>
        <p:txBody>
          <a:bodyPr wrap="none" rtlCol="0">
            <a:spAutoFit/>
          </a:bodyPr>
          <a:lstStyle/>
          <a:p>
            <a:r>
              <a:rPr lang="en-IN" dirty="0"/>
              <a:t>Application Uses following Services</a:t>
            </a:r>
          </a:p>
        </p:txBody>
      </p:sp>
      <p:pic>
        <p:nvPicPr>
          <p:cNvPr id="9" name="Picture 8">
            <a:extLst>
              <a:ext uri="{FF2B5EF4-FFF2-40B4-BE49-F238E27FC236}">
                <a16:creationId xmlns:a16="http://schemas.microsoft.com/office/drawing/2014/main" id="{53B03592-390D-44F6-8279-22BAD1EDD377}"/>
              </a:ext>
            </a:extLst>
          </p:cNvPr>
          <p:cNvPicPr>
            <a:picLocks noChangeAspect="1"/>
          </p:cNvPicPr>
          <p:nvPr/>
        </p:nvPicPr>
        <p:blipFill>
          <a:blip r:embed="rId4"/>
          <a:stretch>
            <a:fillRect/>
          </a:stretch>
        </p:blipFill>
        <p:spPr>
          <a:xfrm>
            <a:off x="6430179" y="3575703"/>
            <a:ext cx="5644307" cy="1200150"/>
          </a:xfrm>
          <a:prstGeom prst="rect">
            <a:avLst/>
          </a:prstGeom>
        </p:spPr>
      </p:pic>
      <p:sp>
        <p:nvSpPr>
          <p:cNvPr id="10" name="TextBox 9">
            <a:extLst>
              <a:ext uri="{FF2B5EF4-FFF2-40B4-BE49-F238E27FC236}">
                <a16:creationId xmlns:a16="http://schemas.microsoft.com/office/drawing/2014/main" id="{1CC1A5FA-1EDD-46E4-AF31-39C65A3F2CD9}"/>
              </a:ext>
            </a:extLst>
          </p:cNvPr>
          <p:cNvSpPr txBox="1"/>
          <p:nvPr/>
        </p:nvSpPr>
        <p:spPr>
          <a:xfrm>
            <a:off x="6430179" y="3150955"/>
            <a:ext cx="3380862" cy="369332"/>
          </a:xfrm>
          <a:prstGeom prst="rect">
            <a:avLst/>
          </a:prstGeom>
          <a:noFill/>
        </p:spPr>
        <p:txBody>
          <a:bodyPr wrap="none" rtlCol="0">
            <a:spAutoFit/>
          </a:bodyPr>
          <a:lstStyle/>
          <a:p>
            <a:r>
              <a:rPr lang="en-IN" dirty="0"/>
              <a:t>Composite SLA for the Application</a:t>
            </a:r>
          </a:p>
        </p:txBody>
      </p:sp>
      <p:pic>
        <p:nvPicPr>
          <p:cNvPr id="12" name="Picture 11">
            <a:extLst>
              <a:ext uri="{FF2B5EF4-FFF2-40B4-BE49-F238E27FC236}">
                <a16:creationId xmlns:a16="http://schemas.microsoft.com/office/drawing/2014/main" id="{C896AA94-C146-4DC4-8167-A6255976203C}"/>
              </a:ext>
            </a:extLst>
          </p:cNvPr>
          <p:cNvPicPr>
            <a:picLocks noChangeAspect="1"/>
          </p:cNvPicPr>
          <p:nvPr/>
        </p:nvPicPr>
        <p:blipFill>
          <a:blip r:embed="rId5"/>
          <a:stretch>
            <a:fillRect/>
          </a:stretch>
        </p:blipFill>
        <p:spPr>
          <a:xfrm>
            <a:off x="6472384" y="5182364"/>
            <a:ext cx="5644308" cy="1563401"/>
          </a:xfrm>
          <a:prstGeom prst="rect">
            <a:avLst/>
          </a:prstGeom>
        </p:spPr>
      </p:pic>
      <p:sp>
        <p:nvSpPr>
          <p:cNvPr id="13" name="TextBox 12">
            <a:extLst>
              <a:ext uri="{FF2B5EF4-FFF2-40B4-BE49-F238E27FC236}">
                <a16:creationId xmlns:a16="http://schemas.microsoft.com/office/drawing/2014/main" id="{C9EE450C-663B-4DE6-B694-A9F49C68982F}"/>
              </a:ext>
            </a:extLst>
          </p:cNvPr>
          <p:cNvSpPr txBox="1"/>
          <p:nvPr/>
        </p:nvSpPr>
        <p:spPr>
          <a:xfrm>
            <a:off x="6430179" y="4831269"/>
            <a:ext cx="5635004" cy="369332"/>
          </a:xfrm>
          <a:prstGeom prst="rect">
            <a:avLst/>
          </a:prstGeom>
          <a:noFill/>
        </p:spPr>
        <p:txBody>
          <a:bodyPr wrap="none" rtlCol="0">
            <a:spAutoFit/>
          </a:bodyPr>
          <a:lstStyle/>
          <a:p>
            <a:r>
              <a:rPr lang="en-IN" dirty="0"/>
              <a:t>Composite SLA for the Application using Queue as fallback</a:t>
            </a:r>
          </a:p>
        </p:txBody>
      </p:sp>
    </p:spTree>
    <p:extLst>
      <p:ext uri="{BB962C8B-B14F-4D97-AF65-F5344CB8AC3E}">
        <p14:creationId xmlns:p14="http://schemas.microsoft.com/office/powerpoint/2010/main" val="289024724"/>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DDBC8-087E-487D-8CE5-82132CE6368D}"/>
              </a:ext>
            </a:extLst>
          </p:cNvPr>
          <p:cNvSpPr>
            <a:spLocks noGrp="1"/>
          </p:cNvSpPr>
          <p:nvPr>
            <p:ph type="title"/>
          </p:nvPr>
        </p:nvSpPr>
        <p:spPr/>
        <p:txBody>
          <a:bodyPr/>
          <a:lstStyle/>
          <a:p>
            <a:r>
              <a:rPr lang="en-IN" dirty="0"/>
              <a:t>Identify application resiliency requirements</a:t>
            </a:r>
          </a:p>
        </p:txBody>
      </p:sp>
      <p:graphicFrame>
        <p:nvGraphicFramePr>
          <p:cNvPr id="4" name="Content Placeholder 3">
            <a:extLst>
              <a:ext uri="{FF2B5EF4-FFF2-40B4-BE49-F238E27FC236}">
                <a16:creationId xmlns:a16="http://schemas.microsoft.com/office/drawing/2014/main" id="{537E1665-1863-4167-8E89-0CD589300885}"/>
              </a:ext>
            </a:extLst>
          </p:cNvPr>
          <p:cNvGraphicFramePr>
            <a:graphicFrameLocks noGrp="1"/>
          </p:cNvGraphicFramePr>
          <p:nvPr>
            <p:ph idx="1"/>
            <p:extLst>
              <p:ext uri="{D42A27DB-BD31-4B8C-83A1-F6EECF244321}">
                <p14:modId xmlns:p14="http://schemas.microsoft.com/office/powerpoint/2010/main" val="3932701716"/>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92447068"/>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07F52F-9D86-4BA0-B8AA-8E42D66A17E6}"/>
              </a:ext>
            </a:extLst>
          </p:cNvPr>
          <p:cNvSpPr>
            <a:spLocks noGrp="1"/>
          </p:cNvSpPr>
          <p:nvPr>
            <p:ph type="title"/>
          </p:nvPr>
        </p:nvSpPr>
        <p:spPr/>
        <p:txBody>
          <a:bodyPr>
            <a:normAutofit/>
          </a:bodyPr>
          <a:lstStyle/>
          <a:p>
            <a:r>
              <a:rPr lang="en-US"/>
              <a:t>Multi-tenancy</a:t>
            </a:r>
          </a:p>
        </p:txBody>
      </p:sp>
      <p:sp>
        <p:nvSpPr>
          <p:cNvPr id="2" name="Content Placeholder 1">
            <a:extLst>
              <a:ext uri="{FF2B5EF4-FFF2-40B4-BE49-F238E27FC236}">
                <a16:creationId xmlns:a16="http://schemas.microsoft.com/office/drawing/2014/main" id="{C09F4817-E2C1-4330-989B-B3F6E08084AD}"/>
              </a:ext>
            </a:extLst>
          </p:cNvPr>
          <p:cNvSpPr>
            <a:spLocks noGrp="1"/>
          </p:cNvSpPr>
          <p:nvPr>
            <p:ph idx="1"/>
          </p:nvPr>
        </p:nvSpPr>
        <p:spPr/>
        <p:txBody>
          <a:bodyPr/>
          <a:lstStyle/>
          <a:p>
            <a:r>
              <a:rPr lang="en-US" dirty="0"/>
              <a:t>Is multi-tenancy always better?</a:t>
            </a:r>
          </a:p>
          <a:p>
            <a:r>
              <a:rPr lang="en-US" dirty="0"/>
              <a:t>How about…</a:t>
            </a:r>
          </a:p>
          <a:p>
            <a:pPr lvl="1"/>
            <a:r>
              <a:rPr lang="en-US" dirty="0"/>
              <a:t>Application stability / resiliency</a:t>
            </a:r>
          </a:p>
          <a:p>
            <a:pPr lvl="1"/>
            <a:r>
              <a:rPr lang="en-US" dirty="0"/>
              <a:t>Different scaling needs</a:t>
            </a:r>
          </a:p>
          <a:p>
            <a:pPr lvl="1"/>
            <a:r>
              <a:rPr lang="en-US" dirty="0"/>
              <a:t>Different SLA / HA</a:t>
            </a:r>
          </a:p>
          <a:p>
            <a:pPr lvl="1"/>
            <a:r>
              <a:rPr lang="en-US" dirty="0"/>
              <a:t>Customization </a:t>
            </a:r>
          </a:p>
          <a:p>
            <a:pPr lvl="1"/>
            <a:r>
              <a:rPr lang="en-US" dirty="0"/>
              <a:t>Basic vs. Premium customers</a:t>
            </a:r>
          </a:p>
          <a:p>
            <a:endParaRPr lang="en-GB" dirty="0"/>
          </a:p>
          <a:p>
            <a:endParaRPr lang="en-US" dirty="0"/>
          </a:p>
        </p:txBody>
      </p:sp>
      <p:pic>
        <p:nvPicPr>
          <p:cNvPr id="5" name="Picture 4">
            <a:extLst>
              <a:ext uri="{FF2B5EF4-FFF2-40B4-BE49-F238E27FC236}">
                <a16:creationId xmlns:a16="http://schemas.microsoft.com/office/drawing/2014/main" id="{A44185D4-AFDB-485F-BE8F-F4536976FA59}"/>
              </a:ext>
            </a:extLst>
          </p:cNvPr>
          <p:cNvPicPr>
            <a:picLocks noChangeAspect="1"/>
          </p:cNvPicPr>
          <p:nvPr/>
        </p:nvPicPr>
        <p:blipFill>
          <a:blip r:embed="rId2"/>
          <a:stretch>
            <a:fillRect/>
          </a:stretch>
        </p:blipFill>
        <p:spPr>
          <a:xfrm>
            <a:off x="6584092" y="1131717"/>
            <a:ext cx="5607908" cy="4458324"/>
          </a:xfrm>
          <a:prstGeom prst="rect">
            <a:avLst/>
          </a:prstGeom>
        </p:spPr>
      </p:pic>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226CEFBA-D45C-45DD-A4CA-C215AC990D03}"/>
                  </a:ext>
                </a:extLst>
              </p14:cNvPr>
              <p14:cNvContentPartPr/>
              <p14:nvPr/>
            </p14:nvContentPartPr>
            <p14:xfrm>
              <a:off x="1893600" y="4422932"/>
              <a:ext cx="4921638" cy="2334218"/>
            </p14:xfrm>
          </p:contentPart>
        </mc:Choice>
        <mc:Fallback xmlns="">
          <p:pic>
            <p:nvPicPr>
              <p:cNvPr id="6" name="Ink 5">
                <a:extLst>
                  <a:ext uri="{FF2B5EF4-FFF2-40B4-BE49-F238E27FC236}">
                    <a16:creationId xmlns:a16="http://schemas.microsoft.com/office/drawing/2014/main" id="{226CEFBA-D45C-45DD-A4CA-C215AC990D03}"/>
                  </a:ext>
                </a:extLst>
              </p:cNvPr>
              <p:cNvPicPr/>
              <p:nvPr/>
            </p:nvPicPr>
            <p:blipFill>
              <a:blip r:embed="rId4"/>
              <a:stretch>
                <a:fillRect/>
              </a:stretch>
            </p:blipFill>
            <p:spPr>
              <a:xfrm>
                <a:off x="1884241" y="4413572"/>
                <a:ext cx="4940357" cy="2352938"/>
              </a:xfrm>
              <a:prstGeom prst="rect">
                <a:avLst/>
              </a:prstGeom>
            </p:spPr>
          </p:pic>
        </mc:Fallback>
      </mc:AlternateContent>
    </p:spTree>
    <p:extLst>
      <p:ext uri="{BB962C8B-B14F-4D97-AF65-F5344CB8AC3E}">
        <p14:creationId xmlns:p14="http://schemas.microsoft.com/office/powerpoint/2010/main" val="266162947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BC5B4-C732-48AA-8879-9F445C843043}"/>
              </a:ext>
            </a:extLst>
          </p:cNvPr>
          <p:cNvSpPr>
            <a:spLocks noGrp="1"/>
          </p:cNvSpPr>
          <p:nvPr>
            <p:ph type="title"/>
          </p:nvPr>
        </p:nvSpPr>
        <p:spPr/>
        <p:txBody>
          <a:bodyPr/>
          <a:lstStyle/>
          <a:p>
            <a:r>
              <a:rPr lang="en-IN" dirty="0"/>
              <a:t>Design for Resilience</a:t>
            </a:r>
          </a:p>
        </p:txBody>
      </p:sp>
      <p:sp>
        <p:nvSpPr>
          <p:cNvPr id="3" name="Text Placeholder 2">
            <a:extLst>
              <a:ext uri="{FF2B5EF4-FFF2-40B4-BE49-F238E27FC236}">
                <a16:creationId xmlns:a16="http://schemas.microsoft.com/office/drawing/2014/main" id="{E98B6E5C-0502-4F32-B944-FC988F6B9F8A}"/>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3807170567"/>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9B465-917E-4A82-BCBC-8F8546BE75C1}"/>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Types of Application failures</a:t>
            </a:r>
          </a:p>
        </p:txBody>
      </p:sp>
      <p:graphicFrame>
        <p:nvGraphicFramePr>
          <p:cNvPr id="4" name="Content Placeholder 3">
            <a:extLst>
              <a:ext uri="{FF2B5EF4-FFF2-40B4-BE49-F238E27FC236}">
                <a16:creationId xmlns:a16="http://schemas.microsoft.com/office/drawing/2014/main" id="{87140A98-A980-466B-9236-47C5D74B78D4}"/>
              </a:ext>
            </a:extLst>
          </p:cNvPr>
          <p:cNvGraphicFramePr>
            <a:graphicFrameLocks noGrp="1"/>
          </p:cNvGraphicFramePr>
          <p:nvPr>
            <p:ph idx="1"/>
            <p:extLst>
              <p:ext uri="{D42A27DB-BD31-4B8C-83A1-F6EECF244321}">
                <p14:modId xmlns:p14="http://schemas.microsoft.com/office/powerpoint/2010/main" val="4022416708"/>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9336959"/>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2746A-2BCB-41FC-AEB2-732BA02CE920}"/>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Failure Mode Analysis</a:t>
            </a:r>
          </a:p>
        </p:txBody>
      </p:sp>
      <p:sp>
        <p:nvSpPr>
          <p:cNvPr id="3" name="Content Placeholder 2">
            <a:extLst>
              <a:ext uri="{FF2B5EF4-FFF2-40B4-BE49-F238E27FC236}">
                <a16:creationId xmlns:a16="http://schemas.microsoft.com/office/drawing/2014/main" id="{34AF4396-93DE-48FD-A977-02D29C34138E}"/>
              </a:ext>
            </a:extLst>
          </p:cNvPr>
          <p:cNvSpPr>
            <a:spLocks noGrp="1"/>
          </p:cNvSpPr>
          <p:nvPr>
            <p:ph idx="1"/>
          </p:nvPr>
        </p:nvSpPr>
        <p:spPr>
          <a:xfrm>
            <a:off x="609600" y="1371600"/>
            <a:ext cx="10728960" cy="5486400"/>
          </a:xfrm>
        </p:spPr>
        <p:txBody>
          <a:bodyPr anchor="ctr">
            <a:normAutofit/>
          </a:bodyPr>
          <a:lstStyle/>
          <a:p>
            <a:pPr marL="0" indent="0" algn="ctr">
              <a:buNone/>
            </a:pPr>
            <a:r>
              <a:rPr lang="en-IN" sz="3200" dirty="0"/>
              <a:t>Process to identify possible points of failure and define how the application will respond to those failures</a:t>
            </a:r>
          </a:p>
        </p:txBody>
      </p:sp>
      <p:sp>
        <p:nvSpPr>
          <p:cNvPr id="4" name="Double Bracket 3">
            <a:extLst>
              <a:ext uri="{FF2B5EF4-FFF2-40B4-BE49-F238E27FC236}">
                <a16:creationId xmlns:a16="http://schemas.microsoft.com/office/drawing/2014/main" id="{0F2B6E09-A63B-434B-8A08-8DD198693A25}"/>
              </a:ext>
            </a:extLst>
          </p:cNvPr>
          <p:cNvSpPr/>
          <p:nvPr/>
        </p:nvSpPr>
        <p:spPr>
          <a:xfrm>
            <a:off x="745588" y="2968283"/>
            <a:ext cx="10592972" cy="2518117"/>
          </a:xfrm>
          <a:prstGeom prst="bracketPair">
            <a:avLst>
              <a:gd name="adj" fmla="val 884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914286397"/>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EAA62-9B5F-4E75-A81D-B54CAAD0780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Steps for conducting a FMA</a:t>
            </a:r>
          </a:p>
        </p:txBody>
      </p:sp>
      <p:sp>
        <p:nvSpPr>
          <p:cNvPr id="3" name="Content Placeholder 2">
            <a:extLst>
              <a:ext uri="{FF2B5EF4-FFF2-40B4-BE49-F238E27FC236}">
                <a16:creationId xmlns:a16="http://schemas.microsoft.com/office/drawing/2014/main" id="{AA64F6A4-7979-4D18-AF16-10633CED6B94}"/>
              </a:ext>
            </a:extLst>
          </p:cNvPr>
          <p:cNvSpPr>
            <a:spLocks noGrp="1"/>
          </p:cNvSpPr>
          <p:nvPr>
            <p:ph idx="1"/>
          </p:nvPr>
        </p:nvSpPr>
        <p:spPr/>
        <p:txBody>
          <a:bodyPr/>
          <a:lstStyle/>
          <a:p>
            <a:r>
              <a:rPr lang="en-IN" dirty="0"/>
              <a:t>Identify all system components and include external dependencies</a:t>
            </a:r>
          </a:p>
          <a:p>
            <a:r>
              <a:rPr lang="en-IN" dirty="0"/>
              <a:t>For each component identify potential failures that could occur – there may be more than one</a:t>
            </a:r>
          </a:p>
          <a:p>
            <a:r>
              <a:rPr lang="en-IN" dirty="0"/>
              <a:t>Rate each failure mode according to its overall risk</a:t>
            </a:r>
          </a:p>
          <a:p>
            <a:r>
              <a:rPr lang="en-IN" dirty="0"/>
              <a:t>For each failure mode, determine how the application will detect, respond, and recover</a:t>
            </a:r>
          </a:p>
          <a:p>
            <a:r>
              <a:rPr lang="en-IN" dirty="0"/>
              <a:t>Consider trade-offs in terms of cost and application complexity</a:t>
            </a:r>
          </a:p>
        </p:txBody>
      </p:sp>
    </p:spTree>
    <p:extLst>
      <p:ext uri="{BB962C8B-B14F-4D97-AF65-F5344CB8AC3E}">
        <p14:creationId xmlns:p14="http://schemas.microsoft.com/office/powerpoint/2010/main" val="3360787625"/>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Mihai Tătăran</a:t>
            </a:r>
          </a:p>
        </p:txBody>
      </p:sp>
      <p:sp>
        <p:nvSpPr>
          <p:cNvPr id="3" name="Content Placeholder 2"/>
          <p:cNvSpPr>
            <a:spLocks noGrp="1"/>
          </p:cNvSpPr>
          <p:nvPr>
            <p:ph idx="4294967295"/>
          </p:nvPr>
        </p:nvSpPr>
        <p:spPr>
          <a:xfrm>
            <a:off x="203200" y="1349375"/>
            <a:ext cx="8818563" cy="2659063"/>
          </a:xfrm>
        </p:spPr>
        <p:txBody>
          <a:bodyPr/>
          <a:lstStyle/>
          <a:p>
            <a:r>
              <a:rPr lang="en-US" dirty="0">
                <a:solidFill>
                  <a:schemeClr val="tx1"/>
                </a:solidFill>
              </a:rPr>
              <a:t>General Manager @ </a:t>
            </a:r>
            <a:r>
              <a:rPr lang="en-US" dirty="0">
                <a:solidFill>
                  <a:schemeClr val="tx1"/>
                </a:solidFill>
                <a:hlinkClick r:id="rId3">
                  <a:extLst>
                    <a:ext uri="{A12FA001-AC4F-418D-AE19-62706E023703}">
                      <ahyp:hlinkClr xmlns:ahyp="http://schemas.microsoft.com/office/drawing/2018/hyperlinkcolor" val="tx"/>
                    </a:ext>
                  </a:extLst>
                </a:hlinkClick>
              </a:rPr>
              <a:t>Avaelgo</a:t>
            </a:r>
            <a:endParaRPr lang="en-US" dirty="0">
              <a:solidFill>
                <a:schemeClr val="tx1"/>
              </a:solidFill>
            </a:endParaRPr>
          </a:p>
          <a:p>
            <a:pPr lvl="1"/>
            <a:r>
              <a:rPr lang="en-US" dirty="0">
                <a:solidFill>
                  <a:schemeClr val="tx1"/>
                </a:solidFill>
              </a:rPr>
              <a:t>SW Dev, Cloud, AI</a:t>
            </a:r>
          </a:p>
          <a:p>
            <a:r>
              <a:rPr lang="en-US" dirty="0">
                <a:solidFill>
                  <a:schemeClr val="tx1"/>
                </a:solidFill>
              </a:rPr>
              <a:t>Microsoft Azure Most Valuable Professional</a:t>
            </a:r>
          </a:p>
          <a:p>
            <a:r>
              <a:rPr lang="en-US" dirty="0">
                <a:solidFill>
                  <a:schemeClr val="tx1"/>
                </a:solidFill>
              </a:rPr>
              <a:t>Microsoft Regional Director</a:t>
            </a:r>
          </a:p>
          <a:p>
            <a:r>
              <a:rPr lang="en-US" dirty="0">
                <a:solidFill>
                  <a:schemeClr val="tx1"/>
                </a:solidFill>
              </a:rPr>
              <a:t>Co-founder @ </a:t>
            </a:r>
            <a:r>
              <a:rPr lang="en-US" dirty="0">
                <a:solidFill>
                  <a:schemeClr val="tx1"/>
                </a:solidFill>
                <a:hlinkClick r:id="rId4">
                  <a:extLst>
                    <a:ext uri="{A12FA001-AC4F-418D-AE19-62706E023703}">
                      <ahyp:hlinkClr xmlns:ahyp="http://schemas.microsoft.com/office/drawing/2018/hyperlinkcolor" val="tx"/>
                    </a:ext>
                  </a:extLst>
                </a:hlinkClick>
              </a:rPr>
              <a:t>ITCamp</a:t>
            </a:r>
            <a:r>
              <a:rPr lang="en-US" dirty="0">
                <a:solidFill>
                  <a:schemeClr val="tx1"/>
                </a:solidFill>
              </a:rPr>
              <a:t> &amp; </a:t>
            </a:r>
            <a:r>
              <a:rPr lang="en-US" dirty="0">
                <a:solidFill>
                  <a:schemeClr val="tx1"/>
                </a:solidFill>
                <a:hlinkClick r:id="rId5">
                  <a:extLst>
                    <a:ext uri="{A12FA001-AC4F-418D-AE19-62706E023703}">
                      <ahyp:hlinkClr xmlns:ahyp="http://schemas.microsoft.com/office/drawing/2018/hyperlinkcolor" val="tx"/>
                    </a:ext>
                  </a:extLst>
                </a:hlinkClick>
              </a:rPr>
              <a:t>ITCamp Community</a:t>
            </a:r>
            <a:endParaRPr lang="en-US" dirty="0">
              <a:solidFill>
                <a:schemeClr val="tx1"/>
              </a:solidFill>
            </a:endParaRPr>
          </a:p>
          <a:p>
            <a:endParaRPr lang="en-US" dirty="0">
              <a:solidFill>
                <a:schemeClr val="tx1"/>
              </a:solidFill>
            </a:endParaRPr>
          </a:p>
          <a:p>
            <a:endParaRPr lang="en-US" dirty="0">
              <a:solidFill>
                <a:schemeClr val="tx1"/>
              </a:solidFill>
            </a:endParaRPr>
          </a:p>
        </p:txBody>
      </p:sp>
      <p:pic>
        <p:nvPicPr>
          <p:cNvPr id="6" name="Picture 5">
            <a:extLst>
              <a:ext uri="{FF2B5EF4-FFF2-40B4-BE49-F238E27FC236}">
                <a16:creationId xmlns:a16="http://schemas.microsoft.com/office/drawing/2014/main" id="{C6D9470C-4C6A-4068-B9FB-BC334C4151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69893" y="5812469"/>
            <a:ext cx="1634873" cy="661216"/>
          </a:xfrm>
          <a:prstGeom prst="rect">
            <a:avLst/>
          </a:prstGeom>
        </p:spPr>
      </p:pic>
      <p:pic>
        <p:nvPicPr>
          <p:cNvPr id="7" name="Picture 4" descr="Imagini pentru microsoft regional director">
            <a:extLst>
              <a:ext uri="{FF2B5EF4-FFF2-40B4-BE49-F238E27FC236}">
                <a16:creationId xmlns:a16="http://schemas.microsoft.com/office/drawing/2014/main" id="{45F60AB7-83F2-48BC-9786-CE6895397D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47638" y="5762003"/>
            <a:ext cx="2716592" cy="77616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erson wearing a white shirt&#10;&#10;Description automatically generated with medium confidence">
            <a:extLst>
              <a:ext uri="{FF2B5EF4-FFF2-40B4-BE49-F238E27FC236}">
                <a16:creationId xmlns:a16="http://schemas.microsoft.com/office/drawing/2014/main" id="{624142F8-BD2F-4C26-A135-D1FCF836D4F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34613" y="1131434"/>
            <a:ext cx="2457387" cy="2082413"/>
          </a:xfrm>
          <a:prstGeom prst="rect">
            <a:avLst/>
          </a:prstGeom>
        </p:spPr>
      </p:pic>
    </p:spTree>
    <p:extLst>
      <p:ext uri="{BB962C8B-B14F-4D97-AF65-F5344CB8AC3E}">
        <p14:creationId xmlns:p14="http://schemas.microsoft.com/office/powerpoint/2010/main" val="1090697889"/>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E6962-37F3-41C3-97B7-34196E1F7C77}"/>
              </a:ext>
            </a:extLst>
          </p:cNvPr>
          <p:cNvSpPr>
            <a:spLocks noGrp="1"/>
          </p:cNvSpPr>
          <p:nvPr>
            <p:ph type="title"/>
          </p:nvPr>
        </p:nvSpPr>
        <p:spPr/>
        <p:txBody>
          <a:bodyPr/>
          <a:lstStyle/>
          <a:p>
            <a:r>
              <a:rPr lang="en-IN" dirty="0"/>
              <a:t>Implement Resiliency Strategies</a:t>
            </a:r>
          </a:p>
        </p:txBody>
      </p:sp>
      <p:sp>
        <p:nvSpPr>
          <p:cNvPr id="3" name="Text Placeholder 2">
            <a:extLst>
              <a:ext uri="{FF2B5EF4-FFF2-40B4-BE49-F238E27FC236}">
                <a16:creationId xmlns:a16="http://schemas.microsoft.com/office/drawing/2014/main" id="{B189E612-14DF-44F0-B73E-0B1EE5CBE60A}"/>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172120162"/>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8C5E0-436E-4842-93B2-F0C23B651A0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Resiliency Strategies for different Failure Types</a:t>
            </a:r>
          </a:p>
        </p:txBody>
      </p:sp>
      <p:graphicFrame>
        <p:nvGraphicFramePr>
          <p:cNvPr id="3" name="Table 3">
            <a:extLst>
              <a:ext uri="{FF2B5EF4-FFF2-40B4-BE49-F238E27FC236}">
                <a16:creationId xmlns:a16="http://schemas.microsoft.com/office/drawing/2014/main" id="{947A1083-B2F9-4D58-A28D-47C6CE8FB56D}"/>
              </a:ext>
            </a:extLst>
          </p:cNvPr>
          <p:cNvGraphicFramePr>
            <a:graphicFrameLocks noGrp="1"/>
          </p:cNvGraphicFramePr>
          <p:nvPr>
            <p:extLst>
              <p:ext uri="{D42A27DB-BD31-4B8C-83A1-F6EECF244321}">
                <p14:modId xmlns:p14="http://schemas.microsoft.com/office/powerpoint/2010/main" val="1283387255"/>
              </p:ext>
            </p:extLst>
          </p:nvPr>
        </p:nvGraphicFramePr>
        <p:xfrm>
          <a:off x="838200" y="1364566"/>
          <a:ext cx="10729686" cy="5265549"/>
        </p:xfrm>
        <a:graphic>
          <a:graphicData uri="http://schemas.openxmlformats.org/drawingml/2006/table">
            <a:tbl>
              <a:tblPr firstCol="1">
                <a:tableStyleId>{5C22544A-7EE6-4342-B048-85BDC9FD1C3A}</a:tableStyleId>
              </a:tblPr>
              <a:tblGrid>
                <a:gridCol w="2432506">
                  <a:extLst>
                    <a:ext uri="{9D8B030D-6E8A-4147-A177-3AD203B41FA5}">
                      <a16:colId xmlns:a16="http://schemas.microsoft.com/office/drawing/2014/main" val="3724813149"/>
                    </a:ext>
                  </a:extLst>
                </a:gridCol>
                <a:gridCol w="8297180">
                  <a:extLst>
                    <a:ext uri="{9D8B030D-6E8A-4147-A177-3AD203B41FA5}">
                      <a16:colId xmlns:a16="http://schemas.microsoft.com/office/drawing/2014/main" val="1685245663"/>
                    </a:ext>
                  </a:extLst>
                </a:gridCol>
              </a:tblGrid>
              <a:tr h="726457">
                <a:tc>
                  <a:txBody>
                    <a:bodyPr/>
                    <a:lstStyle/>
                    <a:p>
                      <a:r>
                        <a:rPr lang="en-IN" sz="1400" dirty="0"/>
                        <a:t>Hardware failure</a:t>
                      </a:r>
                    </a:p>
                  </a:txBody>
                  <a:tcPr marL="54596" marR="54596" marT="27298" marB="27298"/>
                </a:tc>
                <a:tc>
                  <a:txBody>
                    <a:bodyPr/>
                    <a:lstStyle/>
                    <a:p>
                      <a:r>
                        <a:rPr lang="en-IN" sz="1400" dirty="0"/>
                        <a:t>Availability Sets = different Update Domains and Fault Domains</a:t>
                      </a:r>
                    </a:p>
                  </a:txBody>
                  <a:tcPr marL="54596" marR="54596" marT="27298" marB="27298"/>
                </a:tc>
                <a:extLst>
                  <a:ext uri="{0D108BD9-81ED-4DB2-BD59-A6C34878D82A}">
                    <a16:rowId xmlns:a16="http://schemas.microsoft.com/office/drawing/2014/main" val="2317842635"/>
                  </a:ext>
                </a:extLst>
              </a:tr>
              <a:tr h="7264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err="1"/>
                        <a:t>Datacenter</a:t>
                      </a:r>
                      <a:r>
                        <a:rPr lang="en-IN" sz="1400"/>
                        <a:t> failure </a:t>
                      </a:r>
                    </a:p>
                  </a:txBody>
                  <a:tcPr marL="54596" marR="54596" marT="27298" marB="27298"/>
                </a:tc>
                <a:tc>
                  <a:txBody>
                    <a:bodyPr/>
                    <a:lstStyle/>
                    <a:p>
                      <a:r>
                        <a:rPr lang="en-IN" sz="1400" dirty="0"/>
                        <a:t>Azure Availability Zones = redundancy with fault isolation zones across datacenters</a:t>
                      </a:r>
                    </a:p>
                  </a:txBody>
                  <a:tcPr marL="54596" marR="54596" marT="27298" marB="27298"/>
                </a:tc>
                <a:extLst>
                  <a:ext uri="{0D108BD9-81ED-4DB2-BD59-A6C34878D82A}">
                    <a16:rowId xmlns:a16="http://schemas.microsoft.com/office/drawing/2014/main" val="1140423512"/>
                  </a:ext>
                </a:extLst>
              </a:tr>
              <a:tr h="7264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Regional failure </a:t>
                      </a:r>
                    </a:p>
                  </a:txBody>
                  <a:tcPr marL="54596" marR="54596" marT="27298" marB="27298"/>
                </a:tc>
                <a:tc>
                  <a:txBody>
                    <a:bodyPr/>
                    <a:lstStyle/>
                    <a:p>
                      <a:r>
                        <a:rPr lang="en-IN" sz="1400" dirty="0"/>
                        <a:t>Azure Site Recovery = replicate VMs (the data and components) into another region so that applications can be quickly recovered</a:t>
                      </a:r>
                    </a:p>
                    <a:p>
                      <a:r>
                        <a:rPr lang="en-IN" sz="1400" dirty="0"/>
                        <a:t>Geo-Replication = replicate data across regions (Azure Storage, SQL Db, CosmosDB, etc.)</a:t>
                      </a:r>
                    </a:p>
                  </a:txBody>
                  <a:tcPr marL="54596" marR="54596" marT="27298" marB="27298"/>
                </a:tc>
                <a:extLst>
                  <a:ext uri="{0D108BD9-81ED-4DB2-BD59-A6C34878D82A}">
                    <a16:rowId xmlns:a16="http://schemas.microsoft.com/office/drawing/2014/main" val="2509114105"/>
                  </a:ext>
                </a:extLst>
              </a:tr>
              <a:tr h="7264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Transient failure</a:t>
                      </a:r>
                    </a:p>
                  </a:txBody>
                  <a:tcPr marL="54596" marR="54596" marT="27298" marB="27298"/>
                </a:tc>
                <a:tc>
                  <a:txBody>
                    <a:bodyPr/>
                    <a:lstStyle/>
                    <a:p>
                      <a:r>
                        <a:rPr lang="en-IN" sz="1400" dirty="0"/>
                        <a:t>Retry transient failures. For many Azure services, the client software development kit (SDK) implements automatic retries in a way that’s transparent to the caller</a:t>
                      </a:r>
                    </a:p>
                  </a:txBody>
                  <a:tcPr marL="54596" marR="54596" marT="27298" marB="27298"/>
                </a:tc>
                <a:extLst>
                  <a:ext uri="{0D108BD9-81ED-4DB2-BD59-A6C34878D82A}">
                    <a16:rowId xmlns:a16="http://schemas.microsoft.com/office/drawing/2014/main" val="1328795505"/>
                  </a:ext>
                </a:extLst>
              </a:tr>
              <a:tr h="5169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Dependency service failure</a:t>
                      </a:r>
                    </a:p>
                  </a:txBody>
                  <a:tcPr marL="54596" marR="54596" marT="27298" marB="27298"/>
                </a:tc>
                <a:tc>
                  <a:txBody>
                    <a:bodyPr/>
                    <a:lstStyle/>
                    <a:p>
                      <a:r>
                        <a:rPr lang="en-IN" sz="1400" dirty="0"/>
                        <a:t>Degrade gracefully if a service fails without a failover path, providing an acceptable user experience</a:t>
                      </a:r>
                    </a:p>
                  </a:txBody>
                  <a:tcPr marL="54596" marR="54596" marT="27298" marB="27298"/>
                </a:tc>
                <a:extLst>
                  <a:ext uri="{0D108BD9-81ED-4DB2-BD59-A6C34878D82A}">
                    <a16:rowId xmlns:a16="http://schemas.microsoft.com/office/drawing/2014/main" val="645298009"/>
                  </a:ext>
                </a:extLst>
              </a:tr>
              <a:tr h="7264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Heavy load</a:t>
                      </a:r>
                    </a:p>
                  </a:txBody>
                  <a:tcPr marL="54596" marR="54596" marT="27298" marB="27298"/>
                </a:tc>
                <a:tc>
                  <a:txBody>
                    <a:bodyPr/>
                    <a:lstStyle/>
                    <a:p>
                      <a:r>
                        <a:rPr lang="en-IN" sz="1400" dirty="0"/>
                        <a:t>Load balance across instances to handle spikes in usage. For example, put two or more Azure VMs behind a load balancer to distribute traffic to all VMs</a:t>
                      </a:r>
                    </a:p>
                  </a:txBody>
                  <a:tcPr marL="54596" marR="54596" marT="27298" marB="27298"/>
                </a:tc>
                <a:extLst>
                  <a:ext uri="{0D108BD9-81ED-4DB2-BD59-A6C34878D82A}">
                    <a16:rowId xmlns:a16="http://schemas.microsoft.com/office/drawing/2014/main" val="2698668108"/>
                  </a:ext>
                </a:extLst>
              </a:tr>
              <a:tr h="558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Accidental data deletion or corruption</a:t>
                      </a:r>
                    </a:p>
                  </a:txBody>
                  <a:tcPr marL="54596" marR="54596" marT="27298" marB="27298"/>
                </a:tc>
                <a:tc>
                  <a:txBody>
                    <a:bodyPr/>
                    <a:lstStyle/>
                    <a:p>
                      <a:r>
                        <a:rPr lang="en-IN" sz="1400" dirty="0"/>
                        <a:t>Back up data so it can be restored if there’s any deletion or corruption. For example, use Azure Backup to periodically back up your Azure VMs</a:t>
                      </a:r>
                    </a:p>
                  </a:txBody>
                  <a:tcPr marL="54596" marR="54596" marT="27298" marB="27298"/>
                </a:tc>
                <a:extLst>
                  <a:ext uri="{0D108BD9-81ED-4DB2-BD59-A6C34878D82A}">
                    <a16:rowId xmlns:a16="http://schemas.microsoft.com/office/drawing/2014/main" val="800591041"/>
                  </a:ext>
                </a:extLst>
              </a:tr>
              <a:tr h="558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Application deployment failure</a:t>
                      </a:r>
                    </a:p>
                  </a:txBody>
                  <a:tcPr marL="54596" marR="54596" marT="27298" marB="27298"/>
                </a:tc>
                <a:tc>
                  <a:txBody>
                    <a:bodyPr/>
                    <a:lstStyle/>
                    <a:p>
                      <a:r>
                        <a:rPr lang="en-IN" sz="1400" dirty="0"/>
                        <a:t>Automate deployments with a rollback plan</a:t>
                      </a:r>
                    </a:p>
                    <a:p>
                      <a:endParaRPr lang="en-IN" sz="1400" dirty="0"/>
                    </a:p>
                  </a:txBody>
                  <a:tcPr marL="54596" marR="54596" marT="27298" marB="27298"/>
                </a:tc>
                <a:extLst>
                  <a:ext uri="{0D108BD9-81ED-4DB2-BD59-A6C34878D82A}">
                    <a16:rowId xmlns:a16="http://schemas.microsoft.com/office/drawing/2014/main" val="636097822"/>
                  </a:ext>
                </a:extLst>
              </a:tr>
            </a:tbl>
          </a:graphicData>
        </a:graphic>
      </p:graphicFrame>
    </p:spTree>
    <p:extLst>
      <p:ext uri="{BB962C8B-B14F-4D97-AF65-F5344CB8AC3E}">
        <p14:creationId xmlns:p14="http://schemas.microsoft.com/office/powerpoint/2010/main" val="1435690234"/>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Trapezoid 273">
            <a:extLst>
              <a:ext uri="{FF2B5EF4-FFF2-40B4-BE49-F238E27FC236}">
                <a16:creationId xmlns:a16="http://schemas.microsoft.com/office/drawing/2014/main" id="{167DF051-673F-4A29-973F-0376D93E27A9}"/>
              </a:ext>
            </a:extLst>
          </p:cNvPr>
          <p:cNvSpPr/>
          <p:nvPr/>
        </p:nvSpPr>
        <p:spPr>
          <a:xfrm rot="16200000">
            <a:off x="4979254" y="-2203343"/>
            <a:ext cx="3400953" cy="11024266"/>
          </a:xfrm>
          <a:prstGeom prst="trapezoid">
            <a:avLst>
              <a:gd name="adj" fmla="val 44306"/>
            </a:avLst>
          </a:prstGeom>
          <a:gradFill>
            <a:gsLst>
              <a:gs pos="100000">
                <a:schemeClr val="bg1"/>
              </a:gs>
              <a:gs pos="0">
                <a:schemeClr val="bg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sp>
        <p:nvSpPr>
          <p:cNvPr id="4" name="Rectangle: Diagonal Corners Rounded 3">
            <a:extLst>
              <a:ext uri="{FF2B5EF4-FFF2-40B4-BE49-F238E27FC236}">
                <a16:creationId xmlns:a16="http://schemas.microsoft.com/office/drawing/2014/main" id="{5BC576F2-3F1C-43C1-B6A6-51B1E629A0EF}"/>
              </a:ext>
            </a:extLst>
          </p:cNvPr>
          <p:cNvSpPr/>
          <p:nvPr/>
        </p:nvSpPr>
        <p:spPr>
          <a:xfrm>
            <a:off x="1005332" y="5067428"/>
            <a:ext cx="11186531" cy="1379432"/>
          </a:xfrm>
          <a:prstGeom prst="round2DiagRect">
            <a:avLst>
              <a:gd name="adj1" fmla="val 24766"/>
              <a:gd name="adj2" fmla="val 0"/>
            </a:avLst>
          </a:prstGeom>
          <a:solidFill>
            <a:schemeClr val="accent5">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cxnSp>
        <p:nvCxnSpPr>
          <p:cNvPr id="7" name="Straight Connector 6">
            <a:extLst>
              <a:ext uri="{FF2B5EF4-FFF2-40B4-BE49-F238E27FC236}">
                <a16:creationId xmlns:a16="http://schemas.microsoft.com/office/drawing/2014/main" id="{938AEBC6-24B7-4E1E-A3D0-7D0A64B61EE6}"/>
              </a:ext>
            </a:extLst>
          </p:cNvPr>
          <p:cNvCxnSpPr>
            <a:cxnSpLocks/>
          </p:cNvCxnSpPr>
          <p:nvPr/>
        </p:nvCxnSpPr>
        <p:spPr>
          <a:xfrm>
            <a:off x="3053778" y="-4268"/>
            <a:ext cx="0" cy="5387229"/>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E4C8C77-77BB-427A-BF29-B8E5BF4AD66C}"/>
              </a:ext>
            </a:extLst>
          </p:cNvPr>
          <p:cNvCxnSpPr>
            <a:cxnSpLocks/>
          </p:cNvCxnSpPr>
          <p:nvPr/>
        </p:nvCxnSpPr>
        <p:spPr>
          <a:xfrm>
            <a:off x="5318477" y="12849"/>
            <a:ext cx="0" cy="5370112"/>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94677F-E332-4800-821E-8E899E2744E1}"/>
              </a:ext>
            </a:extLst>
          </p:cNvPr>
          <p:cNvCxnSpPr>
            <a:cxnSpLocks/>
          </p:cNvCxnSpPr>
          <p:nvPr/>
        </p:nvCxnSpPr>
        <p:spPr>
          <a:xfrm>
            <a:off x="7961699" y="81354"/>
            <a:ext cx="0" cy="5301606"/>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68" name="LightningBolt_E945" title="Icon of a lightning bolt">
            <a:extLst>
              <a:ext uri="{FF2B5EF4-FFF2-40B4-BE49-F238E27FC236}">
                <a16:creationId xmlns:a16="http://schemas.microsoft.com/office/drawing/2014/main" id="{537DDC38-DA40-498D-A8C0-4AF81CE17BF1}"/>
              </a:ext>
            </a:extLst>
          </p:cNvPr>
          <p:cNvSpPr>
            <a:spLocks noChangeAspect="1"/>
          </p:cNvSpPr>
          <p:nvPr/>
        </p:nvSpPr>
        <p:spPr bwMode="auto">
          <a:xfrm>
            <a:off x="4348666" y="3243837"/>
            <a:ext cx="130133" cy="172477"/>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sp>
        <p:nvSpPr>
          <p:cNvPr id="181" name="TextBox 180">
            <a:extLst>
              <a:ext uri="{FF2B5EF4-FFF2-40B4-BE49-F238E27FC236}">
                <a16:creationId xmlns:a16="http://schemas.microsoft.com/office/drawing/2014/main" id="{74C7FF9F-1140-44F6-B0F7-2D9EFF402859}"/>
              </a:ext>
            </a:extLst>
          </p:cNvPr>
          <p:cNvSpPr txBox="1"/>
          <p:nvPr/>
        </p:nvSpPr>
        <p:spPr>
          <a:xfrm>
            <a:off x="8171424" y="4565045"/>
            <a:ext cx="1680718" cy="329962"/>
          </a:xfrm>
          <a:prstGeom prst="rect">
            <a:avLst/>
          </a:prstGeom>
          <a:noFill/>
        </p:spPr>
        <p:txBody>
          <a:bodyPr wrap="none" rtlCol="0">
            <a:spAutoFit/>
          </a:bodyPr>
          <a:lstStyle/>
          <a:p>
            <a:pPr algn="ctr" defTabSz="914176">
              <a:defRPr/>
            </a:pPr>
            <a:r>
              <a:rPr lang="en-US" sz="1544" dirty="0">
                <a:solidFill>
                  <a:schemeClr val="bg1"/>
                </a:solidFill>
                <a:latin typeface="Segoe UI Semibold"/>
              </a:rPr>
              <a:t>Natural Disaster </a:t>
            </a:r>
          </a:p>
        </p:txBody>
      </p:sp>
      <p:sp>
        <p:nvSpPr>
          <p:cNvPr id="183" name="TextBox 182">
            <a:extLst>
              <a:ext uri="{FF2B5EF4-FFF2-40B4-BE49-F238E27FC236}">
                <a16:creationId xmlns:a16="http://schemas.microsoft.com/office/drawing/2014/main" id="{1DCAA2F7-32FF-4132-9D11-85E9CE8F5B9F}"/>
              </a:ext>
            </a:extLst>
          </p:cNvPr>
          <p:cNvSpPr txBox="1"/>
          <p:nvPr/>
        </p:nvSpPr>
        <p:spPr>
          <a:xfrm>
            <a:off x="3360111" y="4575150"/>
            <a:ext cx="1729744" cy="334702"/>
          </a:xfrm>
          <a:prstGeom prst="rect">
            <a:avLst/>
          </a:prstGeom>
          <a:noFill/>
        </p:spPr>
        <p:txBody>
          <a:bodyPr wrap="none" rtlCol="0">
            <a:spAutoFit/>
          </a:bodyPr>
          <a:lstStyle/>
          <a:p>
            <a:pPr algn="ctr" defTabSz="914176">
              <a:defRPr/>
            </a:pPr>
            <a:r>
              <a:rPr lang="en-US" sz="1544" dirty="0">
                <a:solidFill>
                  <a:schemeClr val="bg1"/>
                </a:solidFill>
                <a:latin typeface="Segoe UI Semibold"/>
                <a:cs typeface="Segoe UI" panose="020B0502040204020203" pitchFamily="34" charset="0"/>
              </a:rPr>
              <a:t>Rack level failure</a:t>
            </a:r>
          </a:p>
        </p:txBody>
      </p:sp>
      <p:sp>
        <p:nvSpPr>
          <p:cNvPr id="184" name="TextBox 183">
            <a:extLst>
              <a:ext uri="{FF2B5EF4-FFF2-40B4-BE49-F238E27FC236}">
                <a16:creationId xmlns:a16="http://schemas.microsoft.com/office/drawing/2014/main" id="{79D9B4D7-8CB4-47E1-8A12-32BC59E03C1A}"/>
              </a:ext>
            </a:extLst>
          </p:cNvPr>
          <p:cNvSpPr txBox="1"/>
          <p:nvPr/>
        </p:nvSpPr>
        <p:spPr>
          <a:xfrm>
            <a:off x="5585727" y="4575150"/>
            <a:ext cx="1857048" cy="329962"/>
          </a:xfrm>
          <a:prstGeom prst="rect">
            <a:avLst/>
          </a:prstGeom>
          <a:noFill/>
        </p:spPr>
        <p:txBody>
          <a:bodyPr wrap="none" rtlCol="0">
            <a:spAutoFit/>
          </a:bodyPr>
          <a:lstStyle/>
          <a:p>
            <a:pPr algn="ctr" defTabSz="914176">
              <a:defRPr/>
            </a:pPr>
            <a:r>
              <a:rPr lang="en-US" sz="1544" dirty="0">
                <a:solidFill>
                  <a:schemeClr val="bg1"/>
                </a:solidFill>
                <a:latin typeface="Segoe UI Semibold"/>
                <a:cs typeface="Segoe UI" panose="020B0502040204020203" pitchFamily="34" charset="0"/>
              </a:rPr>
              <a:t>Datacenter outage</a:t>
            </a:r>
          </a:p>
        </p:txBody>
      </p:sp>
      <p:grpSp>
        <p:nvGrpSpPr>
          <p:cNvPr id="198" name="Group 197">
            <a:extLst>
              <a:ext uri="{FF2B5EF4-FFF2-40B4-BE49-F238E27FC236}">
                <a16:creationId xmlns:a16="http://schemas.microsoft.com/office/drawing/2014/main" id="{E7E1B172-A4A4-417F-9C54-8907AD8D452E}"/>
              </a:ext>
            </a:extLst>
          </p:cNvPr>
          <p:cNvGrpSpPr/>
          <p:nvPr/>
        </p:nvGrpSpPr>
        <p:grpSpPr>
          <a:xfrm>
            <a:off x="138579" y="1553636"/>
            <a:ext cx="727785" cy="3455845"/>
            <a:chOff x="470242" y="1739135"/>
            <a:chExt cx="312425" cy="1677588"/>
          </a:xfrm>
        </p:grpSpPr>
        <p:sp>
          <p:nvSpPr>
            <p:cNvPr id="199" name="Left Bracket 198">
              <a:extLst>
                <a:ext uri="{FF2B5EF4-FFF2-40B4-BE49-F238E27FC236}">
                  <a16:creationId xmlns:a16="http://schemas.microsoft.com/office/drawing/2014/main" id="{691D6112-59B1-4015-A010-4B50B093984A}"/>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panose="020B0502040204020203" pitchFamily="34" charset="0"/>
                <a:cs typeface="Segoe UI" panose="020B0502040204020203" pitchFamily="34" charset="0"/>
              </a:endParaRPr>
            </a:p>
          </p:txBody>
        </p:sp>
        <p:sp>
          <p:nvSpPr>
            <p:cNvPr id="200" name="TextBox 199">
              <a:extLst>
                <a:ext uri="{FF2B5EF4-FFF2-40B4-BE49-F238E27FC236}">
                  <a16:creationId xmlns:a16="http://schemas.microsoft.com/office/drawing/2014/main" id="{EDF4A7D1-009F-4EFC-951F-90E3B7417545}"/>
                </a:ext>
              </a:extLst>
            </p:cNvPr>
            <p:cNvSpPr txBox="1"/>
            <p:nvPr/>
          </p:nvSpPr>
          <p:spPr>
            <a:xfrm rot="16200000">
              <a:off x="-116350" y="2427119"/>
              <a:ext cx="1455593" cy="282409"/>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Infrastructure</a:t>
              </a:r>
            </a:p>
            <a:p>
              <a:pPr defTabSz="913821">
                <a:spcAft>
                  <a:spcPts val="330"/>
                </a:spcAft>
                <a:defRPr/>
              </a:pPr>
              <a:r>
                <a:rPr lang="en-US" sz="1371">
                  <a:solidFill>
                    <a:srgbClr val="3C3C41"/>
                  </a:solidFill>
                  <a:latin typeface="Segoe UI" panose="020B0502040204020203" pitchFamily="34" charset="0"/>
                  <a:cs typeface="Segoe UI" panose="020B0502040204020203" pitchFamily="34" charset="0"/>
                </a:rPr>
                <a:t>(a</a:t>
              </a:r>
              <a:r>
                <a:rPr lang="en-US" sz="1371">
                  <a:solidFill>
                    <a:srgbClr val="3C3C41"/>
                  </a:solidFill>
                  <a:latin typeface="Segoe UI Semibold"/>
                </a:rPr>
                <a:t>pplications and data)</a:t>
              </a:r>
            </a:p>
            <a:p>
              <a:pPr defTabSz="913821">
                <a:spcAft>
                  <a:spcPts val="330"/>
                </a:spcAft>
                <a:defRPr/>
              </a:pPr>
              <a:endParaRPr lang="en-US" sz="1371">
                <a:solidFill>
                  <a:srgbClr val="3C3C41"/>
                </a:solidFill>
                <a:latin typeface="Segoe UI" panose="020B0502040204020203" pitchFamily="34" charset="0"/>
                <a:cs typeface="Segoe UI" panose="020B0502040204020203" pitchFamily="34" charset="0"/>
              </a:endParaRPr>
            </a:p>
          </p:txBody>
        </p:sp>
      </p:grpSp>
      <p:grpSp>
        <p:nvGrpSpPr>
          <p:cNvPr id="201" name="Group 200">
            <a:extLst>
              <a:ext uri="{FF2B5EF4-FFF2-40B4-BE49-F238E27FC236}">
                <a16:creationId xmlns:a16="http://schemas.microsoft.com/office/drawing/2014/main" id="{0E6C876D-0660-41EF-B226-A32D217BCD92}"/>
              </a:ext>
            </a:extLst>
          </p:cNvPr>
          <p:cNvGrpSpPr/>
          <p:nvPr/>
        </p:nvGrpSpPr>
        <p:grpSpPr>
          <a:xfrm>
            <a:off x="211398" y="5062449"/>
            <a:ext cx="654966" cy="1379432"/>
            <a:chOff x="492310" y="1739135"/>
            <a:chExt cx="290357" cy="1677588"/>
          </a:xfrm>
        </p:grpSpPr>
        <p:sp>
          <p:nvSpPr>
            <p:cNvPr id="202" name="Left Bracket 201">
              <a:extLst>
                <a:ext uri="{FF2B5EF4-FFF2-40B4-BE49-F238E27FC236}">
                  <a16:creationId xmlns:a16="http://schemas.microsoft.com/office/drawing/2014/main" id="{6A10B2C3-737B-4554-A766-DF0DEBC3ABDB}"/>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a:endParaRPr>
            </a:p>
          </p:txBody>
        </p:sp>
        <p:sp>
          <p:nvSpPr>
            <p:cNvPr id="203" name="TextBox 202">
              <a:extLst>
                <a:ext uri="{FF2B5EF4-FFF2-40B4-BE49-F238E27FC236}">
                  <a16:creationId xmlns:a16="http://schemas.microsoft.com/office/drawing/2014/main" id="{100363CE-8977-455F-856F-1A255EBC2B11}"/>
                </a:ext>
              </a:extLst>
            </p:cNvPr>
            <p:cNvSpPr txBox="1"/>
            <p:nvPr/>
          </p:nvSpPr>
          <p:spPr>
            <a:xfrm rot="16200000">
              <a:off x="-108982" y="2465803"/>
              <a:ext cx="1391328" cy="188743"/>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Data</a:t>
              </a:r>
            </a:p>
            <a:p>
              <a:pPr defTabSz="913821">
                <a:spcAft>
                  <a:spcPts val="330"/>
                </a:spcAft>
                <a:defRPr/>
              </a:pPr>
              <a:r>
                <a:rPr lang="en-US" sz="1371">
                  <a:solidFill>
                    <a:srgbClr val="3C3C41"/>
                  </a:solidFill>
                  <a:latin typeface="Segoe UI Semibold"/>
                </a:rPr>
                <a:t>(stateful) </a:t>
              </a:r>
            </a:p>
          </p:txBody>
        </p:sp>
      </p:grpSp>
      <p:sp>
        <p:nvSpPr>
          <p:cNvPr id="240" name="TextBox 239">
            <a:extLst>
              <a:ext uri="{FF2B5EF4-FFF2-40B4-BE49-F238E27FC236}">
                <a16:creationId xmlns:a16="http://schemas.microsoft.com/office/drawing/2014/main" id="{8BDE9C53-6D26-42D3-B93E-1AF810470592}"/>
              </a:ext>
            </a:extLst>
          </p:cNvPr>
          <p:cNvSpPr txBox="1"/>
          <p:nvPr/>
        </p:nvSpPr>
        <p:spPr>
          <a:xfrm>
            <a:off x="1019005" y="2813816"/>
            <a:ext cx="789088" cy="152734"/>
          </a:xfrm>
          <a:prstGeom prst="rect">
            <a:avLst/>
          </a:prstGeom>
          <a:noFill/>
        </p:spPr>
        <p:txBody>
          <a:bodyPr wrap="square" lIns="0" tIns="0" rIns="0" bIns="0" rtlCol="0">
            <a:spAutoFit/>
          </a:bodyPr>
          <a:lstStyle/>
          <a:p>
            <a:pPr algn="ctr" defTabSz="913890">
              <a:lnSpc>
                <a:spcPct val="90000"/>
              </a:lnSpc>
              <a:spcAft>
                <a:spcPts val="588"/>
              </a:spcAft>
              <a:defRPr/>
            </a:pPr>
            <a:r>
              <a:rPr lang="en-US" sz="1103" b="1" i="1">
                <a:solidFill>
                  <a:srgbClr val="000000"/>
                </a:solidFill>
                <a:latin typeface="Segoe UI Semibold"/>
              </a:rPr>
              <a:t>Single VM</a:t>
            </a:r>
            <a:endParaRPr lang="en-US" sz="2206" b="1" i="1">
              <a:solidFill>
                <a:srgbClr val="000000"/>
              </a:solidFill>
              <a:latin typeface="Segoe UI Semibold"/>
            </a:endParaRPr>
          </a:p>
        </p:txBody>
      </p:sp>
      <p:sp>
        <p:nvSpPr>
          <p:cNvPr id="193" name="TextBox 192">
            <a:extLst>
              <a:ext uri="{FF2B5EF4-FFF2-40B4-BE49-F238E27FC236}">
                <a16:creationId xmlns:a16="http://schemas.microsoft.com/office/drawing/2014/main" id="{FB526A4D-7A5C-4727-9187-518E8483D921}"/>
              </a:ext>
            </a:extLst>
          </p:cNvPr>
          <p:cNvSpPr txBox="1"/>
          <p:nvPr/>
        </p:nvSpPr>
        <p:spPr>
          <a:xfrm>
            <a:off x="6384020" y="5194665"/>
            <a:ext cx="1734823" cy="334702"/>
          </a:xfrm>
          <a:prstGeom prst="rect">
            <a:avLst/>
          </a:prstGeom>
          <a:noFill/>
        </p:spPr>
        <p:txBody>
          <a:bodyPr wrap="square" rtlCol="0">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Data corruption</a:t>
            </a:r>
          </a:p>
        </p:txBody>
      </p:sp>
      <p:sp>
        <p:nvSpPr>
          <p:cNvPr id="194" name="Rectangle 193">
            <a:extLst>
              <a:ext uri="{FF2B5EF4-FFF2-40B4-BE49-F238E27FC236}">
                <a16:creationId xmlns:a16="http://schemas.microsoft.com/office/drawing/2014/main" id="{7481921F-DAC0-47CB-853C-D49B0A6FC150}"/>
              </a:ext>
            </a:extLst>
          </p:cNvPr>
          <p:cNvSpPr/>
          <p:nvPr/>
        </p:nvSpPr>
        <p:spPr>
          <a:xfrm>
            <a:off x="8968028" y="5194665"/>
            <a:ext cx="1498272"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Ransomware</a:t>
            </a:r>
          </a:p>
        </p:txBody>
      </p:sp>
      <p:sp>
        <p:nvSpPr>
          <p:cNvPr id="195" name="Rectangle 194">
            <a:extLst>
              <a:ext uri="{FF2B5EF4-FFF2-40B4-BE49-F238E27FC236}">
                <a16:creationId xmlns:a16="http://schemas.microsoft.com/office/drawing/2014/main" id="{9854A971-220A-45D5-9441-DF6989FB2FFC}"/>
              </a:ext>
            </a:extLst>
          </p:cNvPr>
          <p:cNvSpPr/>
          <p:nvPr/>
        </p:nvSpPr>
        <p:spPr>
          <a:xfrm>
            <a:off x="3418656" y="5194665"/>
            <a:ext cx="2116181"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Accidental data loss</a:t>
            </a:r>
          </a:p>
        </p:txBody>
      </p:sp>
      <p:grpSp>
        <p:nvGrpSpPr>
          <p:cNvPr id="3" name="Group 2">
            <a:extLst>
              <a:ext uri="{FF2B5EF4-FFF2-40B4-BE49-F238E27FC236}">
                <a16:creationId xmlns:a16="http://schemas.microsoft.com/office/drawing/2014/main" id="{CB5E7275-2FC8-46E3-8936-734325FDED3A}"/>
              </a:ext>
            </a:extLst>
          </p:cNvPr>
          <p:cNvGrpSpPr/>
          <p:nvPr/>
        </p:nvGrpSpPr>
        <p:grpSpPr>
          <a:xfrm>
            <a:off x="1167598" y="5236420"/>
            <a:ext cx="462146" cy="608850"/>
            <a:chOff x="3202598" y="3445817"/>
            <a:chExt cx="953991" cy="1256824"/>
          </a:xfrm>
        </p:grpSpPr>
        <p:sp>
          <p:nvSpPr>
            <p:cNvPr id="186" name="Freeform: Shape 185">
              <a:extLst>
                <a:ext uri="{FF2B5EF4-FFF2-40B4-BE49-F238E27FC236}">
                  <a16:creationId xmlns:a16="http://schemas.microsoft.com/office/drawing/2014/main" id="{B75E088B-2401-445C-9710-7102FE6AACDF}"/>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7" name="Freeform: Shape 186">
              <a:extLst>
                <a:ext uri="{FF2B5EF4-FFF2-40B4-BE49-F238E27FC236}">
                  <a16:creationId xmlns:a16="http://schemas.microsoft.com/office/drawing/2014/main" id="{6521E771-F328-48F5-ADF5-F42135D254FB}"/>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8" name="Freeform: Shape 187">
              <a:extLst>
                <a:ext uri="{FF2B5EF4-FFF2-40B4-BE49-F238E27FC236}">
                  <a16:creationId xmlns:a16="http://schemas.microsoft.com/office/drawing/2014/main" id="{30216353-1A14-444B-B160-116E659EB8F4}"/>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9" name="Freeform: Shape 188">
              <a:extLst>
                <a:ext uri="{FF2B5EF4-FFF2-40B4-BE49-F238E27FC236}">
                  <a16:creationId xmlns:a16="http://schemas.microsoft.com/office/drawing/2014/main" id="{210CDB88-E01A-435C-AB19-43D945039352}"/>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90" name="Freeform: Shape 189">
              <a:extLst>
                <a:ext uri="{FF2B5EF4-FFF2-40B4-BE49-F238E27FC236}">
                  <a16:creationId xmlns:a16="http://schemas.microsoft.com/office/drawing/2014/main" id="{EE96C39D-47E1-4277-8A4A-5052568A5875}"/>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grpSp>
        <p:nvGrpSpPr>
          <p:cNvPr id="304" name="Group 303">
            <a:extLst>
              <a:ext uri="{FF2B5EF4-FFF2-40B4-BE49-F238E27FC236}">
                <a16:creationId xmlns:a16="http://schemas.microsoft.com/office/drawing/2014/main" id="{E8A6F326-433F-4E86-8201-CED6A29A915A}"/>
              </a:ext>
            </a:extLst>
          </p:cNvPr>
          <p:cNvGrpSpPr/>
          <p:nvPr/>
        </p:nvGrpSpPr>
        <p:grpSpPr>
          <a:xfrm>
            <a:off x="1439880" y="5432844"/>
            <a:ext cx="281027" cy="265723"/>
            <a:chOff x="9687132" y="5337166"/>
            <a:chExt cx="207220" cy="195938"/>
          </a:xfrm>
        </p:grpSpPr>
        <p:sp>
          <p:nvSpPr>
            <p:cNvPr id="305" name="Oval 5">
              <a:extLst>
                <a:ext uri="{FF2B5EF4-FFF2-40B4-BE49-F238E27FC236}">
                  <a16:creationId xmlns:a16="http://schemas.microsoft.com/office/drawing/2014/main" id="{A987BBBD-5948-4177-9609-4B2336E21FDA}"/>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3C3C41"/>
                </a:solidFill>
                <a:latin typeface="Segoe UI"/>
              </a:endParaRPr>
            </a:p>
          </p:txBody>
        </p:sp>
        <p:sp>
          <p:nvSpPr>
            <p:cNvPr id="306" name="LightningBolt_E945" title="Icon of a lightning bolt">
              <a:extLst>
                <a:ext uri="{FF2B5EF4-FFF2-40B4-BE49-F238E27FC236}">
                  <a16:creationId xmlns:a16="http://schemas.microsoft.com/office/drawing/2014/main" id="{6AB1DC56-8C0D-48F6-BB2E-012F766E151C}"/>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solidFill>
                  <a:srgbClr val="3C3C41"/>
                </a:solidFill>
                <a:latin typeface="Segoe UI"/>
              </a:endParaRPr>
            </a:p>
          </p:txBody>
        </p:sp>
      </p:grpSp>
      <p:sp>
        <p:nvSpPr>
          <p:cNvPr id="185" name="Rectangle 184">
            <a:extLst>
              <a:ext uri="{FF2B5EF4-FFF2-40B4-BE49-F238E27FC236}">
                <a16:creationId xmlns:a16="http://schemas.microsoft.com/office/drawing/2014/main" id="{481C9084-7041-4028-AEBA-28038FB8A2B7}"/>
              </a:ext>
            </a:extLst>
          </p:cNvPr>
          <p:cNvSpPr/>
          <p:nvPr/>
        </p:nvSpPr>
        <p:spPr bwMode="auto">
          <a:xfrm>
            <a:off x="7960887" y="1516130"/>
            <a:ext cx="4230977"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zure Site Recovery / Region Pairs </a:t>
            </a:r>
          </a:p>
        </p:txBody>
      </p:sp>
      <p:sp>
        <p:nvSpPr>
          <p:cNvPr id="167" name="Rectangle 166">
            <a:extLst>
              <a:ext uri="{FF2B5EF4-FFF2-40B4-BE49-F238E27FC236}">
                <a16:creationId xmlns:a16="http://schemas.microsoft.com/office/drawing/2014/main" id="{1C18C2D3-5A7D-42BE-820D-51E0F8CC2D48}"/>
              </a:ext>
            </a:extLst>
          </p:cNvPr>
          <p:cNvSpPr/>
          <p:nvPr/>
        </p:nvSpPr>
        <p:spPr bwMode="auto">
          <a:xfrm>
            <a:off x="5316891" y="1516130"/>
            <a:ext cx="2644790"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Zones</a:t>
            </a:r>
          </a:p>
        </p:txBody>
      </p:sp>
      <p:sp>
        <p:nvSpPr>
          <p:cNvPr id="166" name="Rectangle 165">
            <a:extLst>
              <a:ext uri="{FF2B5EF4-FFF2-40B4-BE49-F238E27FC236}">
                <a16:creationId xmlns:a16="http://schemas.microsoft.com/office/drawing/2014/main" id="{7F4BBE01-2C2C-4E31-969A-AC6F48B3B7F1}"/>
              </a:ext>
            </a:extLst>
          </p:cNvPr>
          <p:cNvSpPr/>
          <p:nvPr/>
        </p:nvSpPr>
        <p:spPr bwMode="auto">
          <a:xfrm>
            <a:off x="3053774" y="1516130"/>
            <a:ext cx="2264695"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Sets</a:t>
            </a:r>
          </a:p>
        </p:txBody>
      </p:sp>
      <p:sp>
        <p:nvSpPr>
          <p:cNvPr id="2" name="Rectangle 1">
            <a:extLst>
              <a:ext uri="{FF2B5EF4-FFF2-40B4-BE49-F238E27FC236}">
                <a16:creationId xmlns:a16="http://schemas.microsoft.com/office/drawing/2014/main" id="{FA803192-C623-4085-B4FE-1EAD566564A6}"/>
              </a:ext>
            </a:extLst>
          </p:cNvPr>
          <p:cNvSpPr/>
          <p:nvPr/>
        </p:nvSpPr>
        <p:spPr bwMode="auto">
          <a:xfrm>
            <a:off x="1055605" y="1516130"/>
            <a:ext cx="1998169"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Premium Storage</a:t>
            </a:r>
          </a:p>
        </p:txBody>
      </p:sp>
      <p:sp>
        <p:nvSpPr>
          <p:cNvPr id="439" name="Rectangle: Diagonal Corners Rounded 438">
            <a:extLst>
              <a:ext uri="{FF2B5EF4-FFF2-40B4-BE49-F238E27FC236}">
                <a16:creationId xmlns:a16="http://schemas.microsoft.com/office/drawing/2014/main" id="{B25FF04A-9052-40B7-811F-EDA014F5E5A8}"/>
              </a:ext>
            </a:extLst>
          </p:cNvPr>
          <p:cNvSpPr/>
          <p:nvPr/>
        </p:nvSpPr>
        <p:spPr>
          <a:xfrm>
            <a:off x="1005331" y="6056735"/>
            <a:ext cx="11186534" cy="372049"/>
          </a:xfrm>
          <a:prstGeom prst="round2DiagRect">
            <a:avLst>
              <a:gd name="adj1" fmla="val 0"/>
              <a:gd name="adj2" fmla="val 0"/>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17928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Backup</a:t>
            </a:r>
            <a:endParaRPr lang="en-US" sz="1764">
              <a:solidFill>
                <a:prstClr val="white"/>
              </a:solidFill>
              <a:latin typeface="Segoe UI Semibold" panose="020B0702040204020203" pitchFamily="34" charset="0"/>
              <a:cs typeface="Segoe UI Semibold" panose="020B0702040204020203" pitchFamily="34" charset="0"/>
            </a:endParaRPr>
          </a:p>
        </p:txBody>
      </p:sp>
      <p:sp>
        <p:nvSpPr>
          <p:cNvPr id="444" name="Rectangle 443">
            <a:extLst>
              <a:ext uri="{FF2B5EF4-FFF2-40B4-BE49-F238E27FC236}">
                <a16:creationId xmlns:a16="http://schemas.microsoft.com/office/drawing/2014/main" id="{AA27C8C7-2587-4DA1-9E31-60C2D11D99E7}"/>
              </a:ext>
            </a:extLst>
          </p:cNvPr>
          <p:cNvSpPr/>
          <p:nvPr/>
        </p:nvSpPr>
        <p:spPr>
          <a:xfrm>
            <a:off x="3885786" y="5674665"/>
            <a:ext cx="6925056" cy="310466"/>
          </a:xfrm>
          <a:prstGeom prst="rect">
            <a:avLst/>
          </a:prstGeom>
          <a:noFill/>
        </p:spPr>
        <p:txBody>
          <a:bodyPr wrap="square">
            <a:spAutoFit/>
          </a:bodyPr>
          <a:lstStyle/>
          <a:p>
            <a:pPr marL="0" lvl="1" algn="ctr" defTabSz="283365">
              <a:lnSpc>
                <a:spcPct val="90000"/>
              </a:lnSpc>
              <a:spcBef>
                <a:spcPts val="588"/>
              </a:spcBef>
              <a:defRPr/>
            </a:pPr>
            <a:r>
              <a:rPr lang="en-US" sz="1544" i="1">
                <a:solidFill>
                  <a:srgbClr val="3C3C41"/>
                </a:solidFill>
                <a:latin typeface="Segoe UI Semibold"/>
                <a:cs typeface="Segoe UI" panose="020B0502040204020203" pitchFamily="34" charset="0"/>
              </a:rPr>
              <a:t>Restore</a:t>
            </a:r>
            <a:r>
              <a:rPr lang="en-US" sz="1544">
                <a:solidFill>
                  <a:srgbClr val="3C3C41"/>
                </a:solidFill>
                <a:latin typeface="Segoe UI Semibold"/>
                <a:cs typeface="Segoe UI" panose="020B0502040204020203" pitchFamily="34" charset="0"/>
              </a:rPr>
              <a:t> to a certain </a:t>
            </a:r>
            <a:r>
              <a:rPr lang="en-US" sz="1544" i="1">
                <a:solidFill>
                  <a:srgbClr val="3C3C41"/>
                </a:solidFill>
                <a:latin typeface="Segoe UI Semibold"/>
                <a:cs typeface="Segoe UI" panose="020B0502040204020203" pitchFamily="34" charset="0"/>
              </a:rPr>
              <a:t>point in time </a:t>
            </a:r>
            <a:r>
              <a:rPr lang="en-US" sz="1544">
                <a:solidFill>
                  <a:srgbClr val="3C3C41"/>
                </a:solidFill>
                <a:latin typeface="Segoe UI Semibold"/>
                <a:cs typeface="Segoe UI" panose="020B0502040204020203" pitchFamily="34" charset="0"/>
              </a:rPr>
              <a:t>with</a:t>
            </a:r>
            <a:r>
              <a:rPr lang="en-US" sz="1544" i="1">
                <a:solidFill>
                  <a:srgbClr val="3C3C41"/>
                </a:solidFill>
                <a:latin typeface="Segoe UI Semibold"/>
                <a:cs typeface="Segoe UI" panose="020B0502040204020203" pitchFamily="34" charset="0"/>
              </a:rPr>
              <a:t> </a:t>
            </a:r>
            <a:r>
              <a:rPr lang="en-US" sz="1544">
                <a:solidFill>
                  <a:srgbClr val="3C3C41"/>
                </a:solidFill>
                <a:latin typeface="Segoe UI Semibold"/>
                <a:cs typeface="Segoe UI" panose="020B0502040204020203" pitchFamily="34" charset="0"/>
              </a:rPr>
              <a:t>healthier data</a:t>
            </a:r>
          </a:p>
        </p:txBody>
      </p:sp>
      <p:grpSp>
        <p:nvGrpSpPr>
          <p:cNvPr id="283" name="Group 282">
            <a:extLst>
              <a:ext uri="{FF2B5EF4-FFF2-40B4-BE49-F238E27FC236}">
                <a16:creationId xmlns:a16="http://schemas.microsoft.com/office/drawing/2014/main" id="{E28AEFBE-2B51-4B39-BDBA-BE86802FAB72}"/>
              </a:ext>
            </a:extLst>
          </p:cNvPr>
          <p:cNvGrpSpPr/>
          <p:nvPr/>
        </p:nvGrpSpPr>
        <p:grpSpPr>
          <a:xfrm>
            <a:off x="3531761" y="2903975"/>
            <a:ext cx="1237362" cy="843097"/>
            <a:chOff x="3777206" y="2532491"/>
            <a:chExt cx="922693" cy="758454"/>
          </a:xfrm>
        </p:grpSpPr>
        <p:sp>
          <p:nvSpPr>
            <p:cNvPr id="447" name="Freeform: Shape 446">
              <a:extLst>
                <a:ext uri="{FF2B5EF4-FFF2-40B4-BE49-F238E27FC236}">
                  <a16:creationId xmlns:a16="http://schemas.microsoft.com/office/drawing/2014/main" id="{D6996DDC-8CF6-4217-B7D6-8E6FB47599F5}"/>
                </a:ext>
              </a:extLst>
            </p:cNvPr>
            <p:cNvSpPr>
              <a:spLocks/>
            </p:cNvSpPr>
            <p:nvPr/>
          </p:nvSpPr>
          <p:spPr bwMode="auto">
            <a:xfrm>
              <a:off x="3777206" y="2532491"/>
              <a:ext cx="922693" cy="758454"/>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kern="0">
                <a:gradFill>
                  <a:gsLst>
                    <a:gs pos="0">
                      <a:srgbClr val="1A1A1A"/>
                    </a:gs>
                    <a:gs pos="100000">
                      <a:srgbClr val="1A1A1A"/>
                    </a:gs>
                  </a:gsLst>
                  <a:lin ang="5400000" scaled="0"/>
                </a:gradFill>
                <a:latin typeface="Segoe UI Semilight"/>
              </a:endParaRPr>
            </a:p>
          </p:txBody>
        </p:sp>
        <p:grpSp>
          <p:nvGrpSpPr>
            <p:cNvPr id="448" name="Group 447">
              <a:extLst>
                <a:ext uri="{FF2B5EF4-FFF2-40B4-BE49-F238E27FC236}">
                  <a16:creationId xmlns:a16="http://schemas.microsoft.com/office/drawing/2014/main" id="{A845D2CB-0967-497B-A5D1-1E05F587AFDB}"/>
                </a:ext>
              </a:extLst>
            </p:cNvPr>
            <p:cNvGrpSpPr/>
            <p:nvPr/>
          </p:nvGrpSpPr>
          <p:grpSpPr>
            <a:xfrm>
              <a:off x="3866300" y="2861878"/>
              <a:ext cx="752928" cy="280382"/>
              <a:chOff x="3866300" y="2861878"/>
              <a:chExt cx="752928" cy="280382"/>
            </a:xfrm>
          </p:grpSpPr>
          <p:pic>
            <p:nvPicPr>
              <p:cNvPr id="449" name="Picture 448">
                <a:extLst>
                  <a:ext uri="{FF2B5EF4-FFF2-40B4-BE49-F238E27FC236}">
                    <a16:creationId xmlns:a16="http://schemas.microsoft.com/office/drawing/2014/main" id="{E85B9A00-7AFC-4303-83FE-05BA4F6CD960}"/>
                  </a:ext>
                </a:extLst>
              </p:cNvPr>
              <p:cNvPicPr>
                <a:picLocks noChangeAspect="1"/>
              </p:cNvPicPr>
              <p:nvPr/>
            </p:nvPicPr>
            <p:blipFill>
              <a:blip r:embed="rId3"/>
              <a:stretch>
                <a:fillRect/>
              </a:stretch>
            </p:blipFill>
            <p:spPr>
              <a:xfrm>
                <a:off x="3866300" y="2861878"/>
                <a:ext cx="254490" cy="280382"/>
              </a:xfrm>
              <a:prstGeom prst="rect">
                <a:avLst/>
              </a:prstGeom>
            </p:spPr>
          </p:pic>
          <p:pic>
            <p:nvPicPr>
              <p:cNvPr id="450" name="Picture 449">
                <a:extLst>
                  <a:ext uri="{FF2B5EF4-FFF2-40B4-BE49-F238E27FC236}">
                    <a16:creationId xmlns:a16="http://schemas.microsoft.com/office/drawing/2014/main" id="{57E6963F-534C-4E50-AA29-2767A96C5BCE}"/>
                  </a:ext>
                </a:extLst>
              </p:cNvPr>
              <p:cNvPicPr>
                <a:picLocks noChangeAspect="1"/>
              </p:cNvPicPr>
              <p:nvPr/>
            </p:nvPicPr>
            <p:blipFill>
              <a:blip r:embed="rId3"/>
              <a:stretch>
                <a:fillRect/>
              </a:stretch>
            </p:blipFill>
            <p:spPr>
              <a:xfrm>
                <a:off x="4364738" y="2861878"/>
                <a:ext cx="254490" cy="280382"/>
              </a:xfrm>
              <a:prstGeom prst="rect">
                <a:avLst/>
              </a:prstGeom>
            </p:spPr>
          </p:pic>
          <p:cxnSp>
            <p:nvCxnSpPr>
              <p:cNvPr id="451" name="Straight Connector 450">
                <a:extLst>
                  <a:ext uri="{FF2B5EF4-FFF2-40B4-BE49-F238E27FC236}">
                    <a16:creationId xmlns:a16="http://schemas.microsoft.com/office/drawing/2014/main" id="{DEFC4055-D2A2-4E04-BBF1-BE8D6B236116}"/>
                  </a:ext>
                </a:extLst>
              </p:cNvPr>
              <p:cNvCxnSpPr>
                <a:cxnSpLocks/>
              </p:cNvCxnSpPr>
              <p:nvPr/>
            </p:nvCxnSpPr>
            <p:spPr>
              <a:xfrm>
                <a:off x="4115697" y="2982674"/>
                <a:ext cx="23127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sp>
        <p:nvSpPr>
          <p:cNvPr id="644" name="TextBox 643">
            <a:extLst>
              <a:ext uri="{FF2B5EF4-FFF2-40B4-BE49-F238E27FC236}">
                <a16:creationId xmlns:a16="http://schemas.microsoft.com/office/drawing/2014/main" id="{643E4639-49A3-43F5-BC9A-99D7A39C294A}"/>
              </a:ext>
            </a:extLst>
          </p:cNvPr>
          <p:cNvSpPr txBox="1"/>
          <p:nvPr/>
        </p:nvSpPr>
        <p:spPr>
          <a:xfrm>
            <a:off x="1081359" y="4565045"/>
            <a:ext cx="1675074" cy="329962"/>
          </a:xfrm>
          <a:prstGeom prst="rect">
            <a:avLst/>
          </a:prstGeom>
          <a:noFill/>
        </p:spPr>
        <p:txBody>
          <a:bodyPr wrap="none" rtlCol="0">
            <a:spAutoFit/>
          </a:bodyPr>
          <a:lstStyle/>
          <a:p>
            <a:pPr algn="ctr" defTabSz="914176">
              <a:defRPr/>
            </a:pPr>
            <a:r>
              <a:rPr lang="en-US" sz="1544" dirty="0">
                <a:solidFill>
                  <a:schemeClr val="bg1"/>
                </a:solidFill>
                <a:latin typeface="Segoe UI Semibold"/>
                <a:cs typeface="Segoe UI" panose="020B0502040204020203" pitchFamily="34" charset="0"/>
              </a:rPr>
              <a:t>Hardware failure</a:t>
            </a:r>
          </a:p>
        </p:txBody>
      </p:sp>
      <p:sp>
        <p:nvSpPr>
          <p:cNvPr id="273" name="TextBox 272">
            <a:extLst>
              <a:ext uri="{FF2B5EF4-FFF2-40B4-BE49-F238E27FC236}">
                <a16:creationId xmlns:a16="http://schemas.microsoft.com/office/drawing/2014/main" id="{585B11FF-AF92-405F-8247-8DFE7EFEC205}"/>
              </a:ext>
            </a:extLst>
          </p:cNvPr>
          <p:cNvSpPr txBox="1"/>
          <p:nvPr/>
        </p:nvSpPr>
        <p:spPr>
          <a:xfrm>
            <a:off x="3737122" y="2737651"/>
            <a:ext cx="85199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Data center</a:t>
            </a:r>
            <a:endParaRPr lang="en-US" b="1" i="1">
              <a:solidFill>
                <a:srgbClr val="000000"/>
              </a:solidFill>
              <a:latin typeface="Segoe UI"/>
            </a:endParaRPr>
          </a:p>
        </p:txBody>
      </p:sp>
      <p:grpSp>
        <p:nvGrpSpPr>
          <p:cNvPr id="276" name="Group 275">
            <a:extLst>
              <a:ext uri="{FF2B5EF4-FFF2-40B4-BE49-F238E27FC236}">
                <a16:creationId xmlns:a16="http://schemas.microsoft.com/office/drawing/2014/main" id="{BC99FF48-9A2A-4FAA-B6BB-30EBEE07A732}"/>
              </a:ext>
            </a:extLst>
          </p:cNvPr>
          <p:cNvGrpSpPr/>
          <p:nvPr/>
        </p:nvGrpSpPr>
        <p:grpSpPr>
          <a:xfrm>
            <a:off x="5580431" y="2650079"/>
            <a:ext cx="2142494" cy="1261759"/>
            <a:chOff x="5692158" y="4809369"/>
            <a:chExt cx="2185505" cy="1287089"/>
          </a:xfrm>
        </p:grpSpPr>
        <p:sp>
          <p:nvSpPr>
            <p:cNvPr id="277" name="Rectangle: Rounded Corners 276">
              <a:extLst>
                <a:ext uri="{FF2B5EF4-FFF2-40B4-BE49-F238E27FC236}">
                  <a16:creationId xmlns:a16="http://schemas.microsoft.com/office/drawing/2014/main" id="{C969EB7D-3D95-4511-883A-5DF1E21ED243}"/>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E5DF8D00-864B-48A4-B7E9-1422850E3E27}"/>
                </a:ext>
              </a:extLst>
            </p:cNvPr>
            <p:cNvGrpSpPr/>
            <p:nvPr/>
          </p:nvGrpSpPr>
          <p:grpSpPr>
            <a:xfrm>
              <a:off x="6342403" y="5323269"/>
              <a:ext cx="885014" cy="220351"/>
              <a:chOff x="9669274" y="2735571"/>
              <a:chExt cx="1187783" cy="295735"/>
            </a:xfrm>
          </p:grpSpPr>
          <p:cxnSp>
            <p:nvCxnSpPr>
              <p:cNvPr id="338" name="Straight Connector 337">
                <a:extLst>
                  <a:ext uri="{FF2B5EF4-FFF2-40B4-BE49-F238E27FC236}">
                    <a16:creationId xmlns:a16="http://schemas.microsoft.com/office/drawing/2014/main" id="{69975C6C-42B8-4381-80E7-B4D5C0785188}"/>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7DD84E21-B0A5-4442-8AD3-C7C7C18DCC5B}"/>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279" name="Group 278">
              <a:extLst>
                <a:ext uri="{FF2B5EF4-FFF2-40B4-BE49-F238E27FC236}">
                  <a16:creationId xmlns:a16="http://schemas.microsoft.com/office/drawing/2014/main" id="{B9D139A8-D7B1-432D-9D9B-66C8E01E3797}"/>
                </a:ext>
              </a:extLst>
            </p:cNvPr>
            <p:cNvGrpSpPr/>
            <p:nvPr/>
          </p:nvGrpSpPr>
          <p:grpSpPr>
            <a:xfrm>
              <a:off x="5772269" y="5524118"/>
              <a:ext cx="834695" cy="465048"/>
              <a:chOff x="9734441" y="1941220"/>
              <a:chExt cx="1120250" cy="624143"/>
            </a:xfrm>
          </p:grpSpPr>
          <p:grpSp>
            <p:nvGrpSpPr>
              <p:cNvPr id="324" name="Group 323">
                <a:extLst>
                  <a:ext uri="{FF2B5EF4-FFF2-40B4-BE49-F238E27FC236}">
                    <a16:creationId xmlns:a16="http://schemas.microsoft.com/office/drawing/2014/main" id="{D83AF70D-0AA2-4CA5-9D3E-BC0A69BC687D}"/>
                  </a:ext>
                </a:extLst>
              </p:cNvPr>
              <p:cNvGrpSpPr/>
              <p:nvPr/>
            </p:nvGrpSpPr>
            <p:grpSpPr>
              <a:xfrm>
                <a:off x="9818293" y="2253328"/>
                <a:ext cx="972173" cy="243489"/>
                <a:chOff x="3291539" y="4628710"/>
                <a:chExt cx="1006833" cy="279854"/>
              </a:xfrm>
            </p:grpSpPr>
            <p:grpSp>
              <p:nvGrpSpPr>
                <p:cNvPr id="327" name="Group 326">
                  <a:extLst>
                    <a:ext uri="{FF2B5EF4-FFF2-40B4-BE49-F238E27FC236}">
                      <a16:creationId xmlns:a16="http://schemas.microsoft.com/office/drawing/2014/main" id="{E266AB7D-70D2-43BC-998D-21D5CC239181}"/>
                    </a:ext>
                  </a:extLst>
                </p:cNvPr>
                <p:cNvGrpSpPr/>
                <p:nvPr/>
              </p:nvGrpSpPr>
              <p:grpSpPr>
                <a:xfrm>
                  <a:off x="3291539" y="4628710"/>
                  <a:ext cx="404860" cy="279854"/>
                  <a:chOff x="1492896" y="4740617"/>
                  <a:chExt cx="824865" cy="570180"/>
                </a:xfrm>
              </p:grpSpPr>
              <p:pic>
                <p:nvPicPr>
                  <p:cNvPr id="334" name="Picture 333">
                    <a:extLst>
                      <a:ext uri="{FF2B5EF4-FFF2-40B4-BE49-F238E27FC236}">
                        <a16:creationId xmlns:a16="http://schemas.microsoft.com/office/drawing/2014/main" id="{E2A2FE44-A460-4B80-BF87-01D5D2A027DE}"/>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35" name="Group 334">
                    <a:extLst>
                      <a:ext uri="{FF2B5EF4-FFF2-40B4-BE49-F238E27FC236}">
                        <a16:creationId xmlns:a16="http://schemas.microsoft.com/office/drawing/2014/main" id="{67232F96-FEA8-4EC4-A25A-6B47A9EB9FA0}"/>
                      </a:ext>
                    </a:extLst>
                  </p:cNvPr>
                  <p:cNvGrpSpPr/>
                  <p:nvPr/>
                </p:nvGrpSpPr>
                <p:grpSpPr>
                  <a:xfrm>
                    <a:off x="1492896" y="4740617"/>
                    <a:ext cx="824865" cy="570180"/>
                    <a:chOff x="1431708" y="4740617"/>
                    <a:chExt cx="920385" cy="570180"/>
                  </a:xfrm>
                </p:grpSpPr>
                <p:sp>
                  <p:nvSpPr>
                    <p:cNvPr id="336" name="Freeform: Shape 335">
                      <a:extLst>
                        <a:ext uri="{FF2B5EF4-FFF2-40B4-BE49-F238E27FC236}">
                          <a16:creationId xmlns:a16="http://schemas.microsoft.com/office/drawing/2014/main" id="{BF95FACD-6A48-4C6B-B964-F6DB6E4CD54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7" name="Straight Connector 336">
                      <a:extLst>
                        <a:ext uri="{FF2B5EF4-FFF2-40B4-BE49-F238E27FC236}">
                          <a16:creationId xmlns:a16="http://schemas.microsoft.com/office/drawing/2014/main" id="{FCC650BB-9229-4828-A27A-1F3CB8083AF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28" name="Group 327">
                  <a:extLst>
                    <a:ext uri="{FF2B5EF4-FFF2-40B4-BE49-F238E27FC236}">
                      <a16:creationId xmlns:a16="http://schemas.microsoft.com/office/drawing/2014/main" id="{46C5C619-1829-4381-91F2-C377C0242F86}"/>
                    </a:ext>
                  </a:extLst>
                </p:cNvPr>
                <p:cNvGrpSpPr/>
                <p:nvPr/>
              </p:nvGrpSpPr>
              <p:grpSpPr>
                <a:xfrm>
                  <a:off x="3893512" y="4628710"/>
                  <a:ext cx="404860" cy="279854"/>
                  <a:chOff x="1323280" y="4740617"/>
                  <a:chExt cx="824865" cy="570180"/>
                </a:xfrm>
              </p:grpSpPr>
              <p:pic>
                <p:nvPicPr>
                  <p:cNvPr id="330" name="Picture 329">
                    <a:extLst>
                      <a:ext uri="{FF2B5EF4-FFF2-40B4-BE49-F238E27FC236}">
                        <a16:creationId xmlns:a16="http://schemas.microsoft.com/office/drawing/2014/main" id="{9FB08814-9E27-462D-8818-644FF81B34F5}"/>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31" name="Group 330">
                    <a:extLst>
                      <a:ext uri="{FF2B5EF4-FFF2-40B4-BE49-F238E27FC236}">
                        <a16:creationId xmlns:a16="http://schemas.microsoft.com/office/drawing/2014/main" id="{2E402E40-9E13-4A63-A390-39A8EE50E5FD}"/>
                      </a:ext>
                    </a:extLst>
                  </p:cNvPr>
                  <p:cNvGrpSpPr/>
                  <p:nvPr/>
                </p:nvGrpSpPr>
                <p:grpSpPr>
                  <a:xfrm>
                    <a:off x="1323280" y="4740617"/>
                    <a:ext cx="824865" cy="570180"/>
                    <a:chOff x="1242450" y="4740617"/>
                    <a:chExt cx="920385" cy="570180"/>
                  </a:xfrm>
                </p:grpSpPr>
                <p:sp>
                  <p:nvSpPr>
                    <p:cNvPr id="332" name="Freeform: Shape 331">
                      <a:extLst>
                        <a:ext uri="{FF2B5EF4-FFF2-40B4-BE49-F238E27FC236}">
                          <a16:creationId xmlns:a16="http://schemas.microsoft.com/office/drawing/2014/main" id="{1FFB9720-7C8D-4481-BDB0-96552B7799D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3" name="Straight Connector 332">
                      <a:extLst>
                        <a:ext uri="{FF2B5EF4-FFF2-40B4-BE49-F238E27FC236}">
                          <a16:creationId xmlns:a16="http://schemas.microsoft.com/office/drawing/2014/main" id="{6B4DD23F-C858-49B2-93DA-6612F39D1347}"/>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29" name="Straight Connector 328">
                  <a:extLst>
                    <a:ext uri="{FF2B5EF4-FFF2-40B4-BE49-F238E27FC236}">
                      <a16:creationId xmlns:a16="http://schemas.microsoft.com/office/drawing/2014/main" id="{923FC9BD-CDB9-47D5-91E0-2D43CC71713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25" name="Rectangle: Rounded Corners 324">
                <a:extLst>
                  <a:ext uri="{FF2B5EF4-FFF2-40B4-BE49-F238E27FC236}">
                    <a16:creationId xmlns:a16="http://schemas.microsoft.com/office/drawing/2014/main" id="{79AC8684-0BC3-4DDA-9240-69CA744F6952}"/>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26" name="TextBox 325">
                <a:extLst>
                  <a:ext uri="{FF2B5EF4-FFF2-40B4-BE49-F238E27FC236}">
                    <a16:creationId xmlns:a16="http://schemas.microsoft.com/office/drawing/2014/main" id="{6C08A7B0-B1DE-4A00-A8B8-E27FE916B572}"/>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280" name="Straight Arrow Connector 279">
              <a:extLst>
                <a:ext uri="{FF2B5EF4-FFF2-40B4-BE49-F238E27FC236}">
                  <a16:creationId xmlns:a16="http://schemas.microsoft.com/office/drawing/2014/main" id="{B66E04A9-DF04-43D9-9EBA-44CB6E731332}"/>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282" name="Group 281">
              <a:extLst>
                <a:ext uri="{FF2B5EF4-FFF2-40B4-BE49-F238E27FC236}">
                  <a16:creationId xmlns:a16="http://schemas.microsoft.com/office/drawing/2014/main" id="{2DCE539B-3744-4406-ADFD-7407DA03BCDC}"/>
                </a:ext>
              </a:extLst>
            </p:cNvPr>
            <p:cNvGrpSpPr/>
            <p:nvPr/>
          </p:nvGrpSpPr>
          <p:grpSpPr>
            <a:xfrm>
              <a:off x="6971149" y="5524118"/>
              <a:ext cx="834695" cy="465048"/>
              <a:chOff x="9734441" y="1941220"/>
              <a:chExt cx="1120250" cy="624143"/>
            </a:xfrm>
          </p:grpSpPr>
          <p:grpSp>
            <p:nvGrpSpPr>
              <p:cNvPr id="310" name="Group 309">
                <a:extLst>
                  <a:ext uri="{FF2B5EF4-FFF2-40B4-BE49-F238E27FC236}">
                    <a16:creationId xmlns:a16="http://schemas.microsoft.com/office/drawing/2014/main" id="{70BB7997-338B-4A74-9B33-037DEB28A1D8}"/>
                  </a:ext>
                </a:extLst>
              </p:cNvPr>
              <p:cNvGrpSpPr/>
              <p:nvPr/>
            </p:nvGrpSpPr>
            <p:grpSpPr>
              <a:xfrm>
                <a:off x="9818293" y="2253328"/>
                <a:ext cx="972173" cy="243489"/>
                <a:chOff x="3291539" y="4628710"/>
                <a:chExt cx="1006833" cy="279854"/>
              </a:xfrm>
            </p:grpSpPr>
            <p:grpSp>
              <p:nvGrpSpPr>
                <p:cNvPr id="313" name="Group 312">
                  <a:extLst>
                    <a:ext uri="{FF2B5EF4-FFF2-40B4-BE49-F238E27FC236}">
                      <a16:creationId xmlns:a16="http://schemas.microsoft.com/office/drawing/2014/main" id="{C0BF47A8-B1A8-43A9-BE12-45D25073E2F8}"/>
                    </a:ext>
                  </a:extLst>
                </p:cNvPr>
                <p:cNvGrpSpPr/>
                <p:nvPr/>
              </p:nvGrpSpPr>
              <p:grpSpPr>
                <a:xfrm>
                  <a:off x="3291539" y="4628710"/>
                  <a:ext cx="404860" cy="279854"/>
                  <a:chOff x="1492896" y="4740617"/>
                  <a:chExt cx="824865" cy="570180"/>
                </a:xfrm>
              </p:grpSpPr>
              <p:pic>
                <p:nvPicPr>
                  <p:cNvPr id="320" name="Picture 319">
                    <a:extLst>
                      <a:ext uri="{FF2B5EF4-FFF2-40B4-BE49-F238E27FC236}">
                        <a16:creationId xmlns:a16="http://schemas.microsoft.com/office/drawing/2014/main" id="{C76102B0-2FCD-42AA-94C5-938EB8A6180A}"/>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21" name="Group 320">
                    <a:extLst>
                      <a:ext uri="{FF2B5EF4-FFF2-40B4-BE49-F238E27FC236}">
                        <a16:creationId xmlns:a16="http://schemas.microsoft.com/office/drawing/2014/main" id="{13F690C7-408E-41C7-A818-5A7544FC1E8C}"/>
                      </a:ext>
                    </a:extLst>
                  </p:cNvPr>
                  <p:cNvGrpSpPr/>
                  <p:nvPr/>
                </p:nvGrpSpPr>
                <p:grpSpPr>
                  <a:xfrm>
                    <a:off x="1492896" y="4740617"/>
                    <a:ext cx="824865" cy="570180"/>
                    <a:chOff x="1431708" y="4740617"/>
                    <a:chExt cx="920385" cy="570180"/>
                  </a:xfrm>
                </p:grpSpPr>
                <p:sp>
                  <p:nvSpPr>
                    <p:cNvPr id="322" name="Freeform: Shape 321">
                      <a:extLst>
                        <a:ext uri="{FF2B5EF4-FFF2-40B4-BE49-F238E27FC236}">
                          <a16:creationId xmlns:a16="http://schemas.microsoft.com/office/drawing/2014/main" id="{62CC8296-8E59-46F2-86A7-190A55C24DBB}"/>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23" name="Straight Connector 322">
                      <a:extLst>
                        <a:ext uri="{FF2B5EF4-FFF2-40B4-BE49-F238E27FC236}">
                          <a16:creationId xmlns:a16="http://schemas.microsoft.com/office/drawing/2014/main" id="{B451B516-757B-4C4D-8759-1B8329A78578}"/>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14" name="Group 313">
                  <a:extLst>
                    <a:ext uri="{FF2B5EF4-FFF2-40B4-BE49-F238E27FC236}">
                      <a16:creationId xmlns:a16="http://schemas.microsoft.com/office/drawing/2014/main" id="{FBD3B6FA-5F06-4DB0-A746-574A3B443040}"/>
                    </a:ext>
                  </a:extLst>
                </p:cNvPr>
                <p:cNvGrpSpPr/>
                <p:nvPr/>
              </p:nvGrpSpPr>
              <p:grpSpPr>
                <a:xfrm>
                  <a:off x="3893512" y="4628710"/>
                  <a:ext cx="404860" cy="279854"/>
                  <a:chOff x="1323280" y="4740617"/>
                  <a:chExt cx="824865" cy="570180"/>
                </a:xfrm>
              </p:grpSpPr>
              <p:pic>
                <p:nvPicPr>
                  <p:cNvPr id="316" name="Picture 315">
                    <a:extLst>
                      <a:ext uri="{FF2B5EF4-FFF2-40B4-BE49-F238E27FC236}">
                        <a16:creationId xmlns:a16="http://schemas.microsoft.com/office/drawing/2014/main" id="{8231A879-D45B-44DD-9015-BCCDD9702542}"/>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17" name="Group 316">
                    <a:extLst>
                      <a:ext uri="{FF2B5EF4-FFF2-40B4-BE49-F238E27FC236}">
                        <a16:creationId xmlns:a16="http://schemas.microsoft.com/office/drawing/2014/main" id="{DB51571F-CE9F-4B27-A9EB-F88D3BC3882A}"/>
                      </a:ext>
                    </a:extLst>
                  </p:cNvPr>
                  <p:cNvGrpSpPr/>
                  <p:nvPr/>
                </p:nvGrpSpPr>
                <p:grpSpPr>
                  <a:xfrm>
                    <a:off x="1323280" y="4740617"/>
                    <a:ext cx="824865" cy="570180"/>
                    <a:chOff x="1242450" y="4740617"/>
                    <a:chExt cx="920385" cy="570180"/>
                  </a:xfrm>
                </p:grpSpPr>
                <p:sp>
                  <p:nvSpPr>
                    <p:cNvPr id="318" name="Freeform: Shape 317">
                      <a:extLst>
                        <a:ext uri="{FF2B5EF4-FFF2-40B4-BE49-F238E27FC236}">
                          <a16:creationId xmlns:a16="http://schemas.microsoft.com/office/drawing/2014/main" id="{E75C252C-8535-4C3E-A767-B9A0FA417C3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19" name="Straight Connector 318">
                      <a:extLst>
                        <a:ext uri="{FF2B5EF4-FFF2-40B4-BE49-F238E27FC236}">
                          <a16:creationId xmlns:a16="http://schemas.microsoft.com/office/drawing/2014/main" id="{213D07D4-71CF-41DA-821C-986EAB7FCD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15" name="Straight Connector 314">
                  <a:extLst>
                    <a:ext uri="{FF2B5EF4-FFF2-40B4-BE49-F238E27FC236}">
                      <a16:creationId xmlns:a16="http://schemas.microsoft.com/office/drawing/2014/main" id="{406E838F-A716-4F36-867E-FEA1143EF974}"/>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11" name="Rectangle: Rounded Corners 310">
                <a:extLst>
                  <a:ext uri="{FF2B5EF4-FFF2-40B4-BE49-F238E27FC236}">
                    <a16:creationId xmlns:a16="http://schemas.microsoft.com/office/drawing/2014/main" id="{72C77E91-436E-4008-853A-F37675EBAF1B}"/>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12" name="TextBox 311">
                <a:extLst>
                  <a:ext uri="{FF2B5EF4-FFF2-40B4-BE49-F238E27FC236}">
                    <a16:creationId xmlns:a16="http://schemas.microsoft.com/office/drawing/2014/main" id="{12FB94B7-C46F-4AB2-97D5-A2448477B98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288" name="Group 287">
              <a:extLst>
                <a:ext uri="{FF2B5EF4-FFF2-40B4-BE49-F238E27FC236}">
                  <a16:creationId xmlns:a16="http://schemas.microsoft.com/office/drawing/2014/main" id="{2745C338-8EB6-4325-BAC3-B287D043384F}"/>
                </a:ext>
              </a:extLst>
            </p:cNvPr>
            <p:cNvGrpSpPr/>
            <p:nvPr/>
          </p:nvGrpSpPr>
          <p:grpSpPr>
            <a:xfrm>
              <a:off x="6369682" y="4847206"/>
              <a:ext cx="834695" cy="465048"/>
              <a:chOff x="9734441" y="1941220"/>
              <a:chExt cx="1120250" cy="624143"/>
            </a:xfrm>
          </p:grpSpPr>
          <p:grpSp>
            <p:nvGrpSpPr>
              <p:cNvPr id="292" name="Group 291">
                <a:extLst>
                  <a:ext uri="{FF2B5EF4-FFF2-40B4-BE49-F238E27FC236}">
                    <a16:creationId xmlns:a16="http://schemas.microsoft.com/office/drawing/2014/main" id="{9D32057C-A4C2-4130-BBE3-8856D49F24EA}"/>
                  </a:ext>
                </a:extLst>
              </p:cNvPr>
              <p:cNvGrpSpPr/>
              <p:nvPr/>
            </p:nvGrpSpPr>
            <p:grpSpPr>
              <a:xfrm>
                <a:off x="9818293" y="2253328"/>
                <a:ext cx="972173" cy="243489"/>
                <a:chOff x="3291539" y="4628710"/>
                <a:chExt cx="1006833" cy="279854"/>
              </a:xfrm>
            </p:grpSpPr>
            <p:grpSp>
              <p:nvGrpSpPr>
                <p:cNvPr id="295" name="Group 294">
                  <a:extLst>
                    <a:ext uri="{FF2B5EF4-FFF2-40B4-BE49-F238E27FC236}">
                      <a16:creationId xmlns:a16="http://schemas.microsoft.com/office/drawing/2014/main" id="{A1892B62-D558-4DAF-8A34-0E09D6B66DFD}"/>
                    </a:ext>
                  </a:extLst>
                </p:cNvPr>
                <p:cNvGrpSpPr/>
                <p:nvPr/>
              </p:nvGrpSpPr>
              <p:grpSpPr>
                <a:xfrm>
                  <a:off x="3291539" y="4628710"/>
                  <a:ext cx="404860" cy="279854"/>
                  <a:chOff x="1492896" y="4740617"/>
                  <a:chExt cx="824865" cy="570180"/>
                </a:xfrm>
              </p:grpSpPr>
              <p:pic>
                <p:nvPicPr>
                  <p:cNvPr id="302" name="Picture 301">
                    <a:extLst>
                      <a:ext uri="{FF2B5EF4-FFF2-40B4-BE49-F238E27FC236}">
                        <a16:creationId xmlns:a16="http://schemas.microsoft.com/office/drawing/2014/main" id="{F6086A00-5986-41F2-AFE2-6759A7C65301}"/>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07" name="Group 306">
                    <a:extLst>
                      <a:ext uri="{FF2B5EF4-FFF2-40B4-BE49-F238E27FC236}">
                        <a16:creationId xmlns:a16="http://schemas.microsoft.com/office/drawing/2014/main" id="{6AE15F3B-5773-43A8-9D23-9E2D6537A29F}"/>
                      </a:ext>
                    </a:extLst>
                  </p:cNvPr>
                  <p:cNvGrpSpPr/>
                  <p:nvPr/>
                </p:nvGrpSpPr>
                <p:grpSpPr>
                  <a:xfrm>
                    <a:off x="1492896" y="4740617"/>
                    <a:ext cx="824865" cy="570180"/>
                    <a:chOff x="1431708" y="4740617"/>
                    <a:chExt cx="920385" cy="570180"/>
                  </a:xfrm>
                </p:grpSpPr>
                <p:sp>
                  <p:nvSpPr>
                    <p:cNvPr id="308" name="Freeform: Shape 307">
                      <a:extLst>
                        <a:ext uri="{FF2B5EF4-FFF2-40B4-BE49-F238E27FC236}">
                          <a16:creationId xmlns:a16="http://schemas.microsoft.com/office/drawing/2014/main" id="{014D9EF8-3C1E-455F-AF7F-560274FBD84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9" name="Straight Connector 308">
                      <a:extLst>
                        <a:ext uri="{FF2B5EF4-FFF2-40B4-BE49-F238E27FC236}">
                          <a16:creationId xmlns:a16="http://schemas.microsoft.com/office/drawing/2014/main" id="{9A0B7EE0-3F93-4736-9D59-20AB38DD4EE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96" name="Group 295">
                  <a:extLst>
                    <a:ext uri="{FF2B5EF4-FFF2-40B4-BE49-F238E27FC236}">
                      <a16:creationId xmlns:a16="http://schemas.microsoft.com/office/drawing/2014/main" id="{ACEADCC1-C6CA-41FB-83B4-7751AFAB6AE1}"/>
                    </a:ext>
                  </a:extLst>
                </p:cNvPr>
                <p:cNvGrpSpPr/>
                <p:nvPr/>
              </p:nvGrpSpPr>
              <p:grpSpPr>
                <a:xfrm>
                  <a:off x="3893512" y="4628710"/>
                  <a:ext cx="404860" cy="279854"/>
                  <a:chOff x="1323280" y="4740617"/>
                  <a:chExt cx="824865" cy="570180"/>
                </a:xfrm>
              </p:grpSpPr>
              <p:pic>
                <p:nvPicPr>
                  <p:cNvPr id="298" name="Picture 297">
                    <a:extLst>
                      <a:ext uri="{FF2B5EF4-FFF2-40B4-BE49-F238E27FC236}">
                        <a16:creationId xmlns:a16="http://schemas.microsoft.com/office/drawing/2014/main" id="{A310CB7C-169D-43A8-825F-7673EA3F151B}"/>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299" name="Group 298">
                    <a:extLst>
                      <a:ext uri="{FF2B5EF4-FFF2-40B4-BE49-F238E27FC236}">
                        <a16:creationId xmlns:a16="http://schemas.microsoft.com/office/drawing/2014/main" id="{524312C5-13FE-41F9-8E45-0B5F642C86F6}"/>
                      </a:ext>
                    </a:extLst>
                  </p:cNvPr>
                  <p:cNvGrpSpPr/>
                  <p:nvPr/>
                </p:nvGrpSpPr>
                <p:grpSpPr>
                  <a:xfrm>
                    <a:off x="1323280" y="4740617"/>
                    <a:ext cx="824865" cy="570180"/>
                    <a:chOff x="1242450" y="4740617"/>
                    <a:chExt cx="920385" cy="570180"/>
                  </a:xfrm>
                </p:grpSpPr>
                <p:sp>
                  <p:nvSpPr>
                    <p:cNvPr id="300" name="Freeform: Shape 299">
                      <a:extLst>
                        <a:ext uri="{FF2B5EF4-FFF2-40B4-BE49-F238E27FC236}">
                          <a16:creationId xmlns:a16="http://schemas.microsoft.com/office/drawing/2014/main" id="{69DE864C-D6E9-48CC-8362-2031CD33C2F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1" name="Straight Connector 300">
                      <a:extLst>
                        <a:ext uri="{FF2B5EF4-FFF2-40B4-BE49-F238E27FC236}">
                          <a16:creationId xmlns:a16="http://schemas.microsoft.com/office/drawing/2014/main" id="{C7333D8A-F664-43E5-B09F-D16EC827FAB1}"/>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297" name="Straight Connector 296">
                  <a:extLst>
                    <a:ext uri="{FF2B5EF4-FFF2-40B4-BE49-F238E27FC236}">
                      <a16:creationId xmlns:a16="http://schemas.microsoft.com/office/drawing/2014/main" id="{8E22E7C3-C843-4592-AFB1-41510E2D5D0D}"/>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93" name="Rectangle: Rounded Corners 292">
                <a:extLst>
                  <a:ext uri="{FF2B5EF4-FFF2-40B4-BE49-F238E27FC236}">
                    <a16:creationId xmlns:a16="http://schemas.microsoft.com/office/drawing/2014/main" id="{57A7C885-B2C8-450E-B444-047FBF960FA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294" name="TextBox 293">
                <a:extLst>
                  <a:ext uri="{FF2B5EF4-FFF2-40B4-BE49-F238E27FC236}">
                    <a16:creationId xmlns:a16="http://schemas.microsoft.com/office/drawing/2014/main" id="{45611902-1465-484A-80E8-9F8066C568C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grpSp>
        <p:nvGrpSpPr>
          <p:cNvPr id="340" name="Group 339">
            <a:extLst>
              <a:ext uri="{FF2B5EF4-FFF2-40B4-BE49-F238E27FC236}">
                <a16:creationId xmlns:a16="http://schemas.microsoft.com/office/drawing/2014/main" id="{C77FCDA7-CB5F-43D6-848B-C128695969E6}"/>
              </a:ext>
            </a:extLst>
          </p:cNvPr>
          <p:cNvGrpSpPr/>
          <p:nvPr/>
        </p:nvGrpSpPr>
        <p:grpSpPr>
          <a:xfrm>
            <a:off x="8229551" y="2250011"/>
            <a:ext cx="3630507" cy="1905005"/>
            <a:chOff x="8228779" y="3968317"/>
            <a:chExt cx="3703389" cy="1943249"/>
          </a:xfrm>
        </p:grpSpPr>
        <p:grpSp>
          <p:nvGrpSpPr>
            <p:cNvPr id="341" name="Group 340">
              <a:extLst>
                <a:ext uri="{FF2B5EF4-FFF2-40B4-BE49-F238E27FC236}">
                  <a16:creationId xmlns:a16="http://schemas.microsoft.com/office/drawing/2014/main" id="{2E49A744-31A9-4BBB-9009-3761CFB2DF2B}"/>
                </a:ext>
              </a:extLst>
            </p:cNvPr>
            <p:cNvGrpSpPr/>
            <p:nvPr/>
          </p:nvGrpSpPr>
          <p:grpSpPr>
            <a:xfrm>
              <a:off x="10770115" y="3968317"/>
              <a:ext cx="1162053" cy="1943249"/>
              <a:chOff x="10374150" y="1631535"/>
              <a:chExt cx="1479044" cy="2473345"/>
            </a:xfrm>
          </p:grpSpPr>
          <p:grpSp>
            <p:nvGrpSpPr>
              <p:cNvPr id="396" name="Group 395">
                <a:extLst>
                  <a:ext uri="{FF2B5EF4-FFF2-40B4-BE49-F238E27FC236}">
                    <a16:creationId xmlns:a16="http://schemas.microsoft.com/office/drawing/2014/main" id="{C60D3F1A-19B4-4EB7-A612-B2E0765C0F53}"/>
                  </a:ext>
                </a:extLst>
              </p:cNvPr>
              <p:cNvGrpSpPr/>
              <p:nvPr/>
            </p:nvGrpSpPr>
            <p:grpSpPr>
              <a:xfrm>
                <a:off x="10374150" y="1631535"/>
                <a:ext cx="1479044" cy="2473345"/>
                <a:chOff x="5444944" y="4437621"/>
                <a:chExt cx="1479266" cy="1450648"/>
              </a:xfrm>
            </p:grpSpPr>
            <p:sp>
              <p:nvSpPr>
                <p:cNvPr id="411" name="Rectangle: Rounded Corners 410">
                  <a:extLst>
                    <a:ext uri="{FF2B5EF4-FFF2-40B4-BE49-F238E27FC236}">
                      <a16:creationId xmlns:a16="http://schemas.microsoft.com/office/drawing/2014/main" id="{EE2EE75D-C09D-494E-AC52-D877394D9FA9}"/>
                    </a:ext>
                  </a:extLst>
                </p:cNvPr>
                <p:cNvSpPr/>
                <p:nvPr/>
              </p:nvSpPr>
              <p:spPr bwMode="auto">
                <a:xfrm>
                  <a:off x="5444944" y="4581979"/>
                  <a:ext cx="1479266" cy="130629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6" tIns="143381" rIns="179226" bIns="143381" numCol="1" spcCol="0" rtlCol="0" fromWordArt="0" anchor="t" anchorCtr="0" forceAA="0" compatLnSpc="1">
                  <a:prstTxWarp prst="textNoShape">
                    <a:avLst/>
                  </a:prstTxWarp>
                  <a:noAutofit/>
                </a:bodyPr>
                <a:lstStyle/>
                <a:p>
                  <a:pPr algn="ctr" defTabSz="91370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2" name="TextBox 411">
                  <a:extLst>
                    <a:ext uri="{FF2B5EF4-FFF2-40B4-BE49-F238E27FC236}">
                      <a16:creationId xmlns:a16="http://schemas.microsoft.com/office/drawing/2014/main" id="{AC531F20-7C04-46DD-9C09-5ED19389BF33}"/>
                    </a:ext>
                  </a:extLst>
                </p:cNvPr>
                <p:cNvSpPr txBox="1"/>
                <p:nvPr/>
              </p:nvSpPr>
              <p:spPr>
                <a:xfrm>
                  <a:off x="5742801" y="4437621"/>
                  <a:ext cx="791348" cy="123992"/>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2</a:t>
                  </a:r>
                  <a:endParaRPr lang="en-US" sz="2353">
                    <a:solidFill>
                      <a:srgbClr val="000000"/>
                    </a:solidFill>
                    <a:latin typeface="Segoe UI Semibold"/>
                  </a:endParaRPr>
                </a:p>
              </p:txBody>
            </p:sp>
          </p:grpSp>
          <p:grpSp>
            <p:nvGrpSpPr>
              <p:cNvPr id="397" name="Group 396">
                <a:extLst>
                  <a:ext uri="{FF2B5EF4-FFF2-40B4-BE49-F238E27FC236}">
                    <a16:creationId xmlns:a16="http://schemas.microsoft.com/office/drawing/2014/main" id="{B78F9120-D0B5-4FBC-9A0A-28696732D102}"/>
                  </a:ext>
                </a:extLst>
              </p:cNvPr>
              <p:cNvGrpSpPr/>
              <p:nvPr/>
            </p:nvGrpSpPr>
            <p:grpSpPr>
              <a:xfrm>
                <a:off x="10461841" y="2133101"/>
                <a:ext cx="1303663" cy="1559084"/>
                <a:chOff x="1337223" y="4230417"/>
                <a:chExt cx="1303858" cy="1559317"/>
              </a:xfrm>
            </p:grpSpPr>
            <p:grpSp>
              <p:nvGrpSpPr>
                <p:cNvPr id="398" name="Group 397">
                  <a:extLst>
                    <a:ext uri="{FF2B5EF4-FFF2-40B4-BE49-F238E27FC236}">
                      <a16:creationId xmlns:a16="http://schemas.microsoft.com/office/drawing/2014/main" id="{DDB6D57E-7EF9-440F-BC16-0A966A755FDD}"/>
                    </a:ext>
                  </a:extLst>
                </p:cNvPr>
                <p:cNvGrpSpPr/>
                <p:nvPr/>
              </p:nvGrpSpPr>
              <p:grpSpPr>
                <a:xfrm>
                  <a:off x="1337223" y="4626335"/>
                  <a:ext cx="655186" cy="452890"/>
                  <a:chOff x="1543272" y="4740617"/>
                  <a:chExt cx="824865" cy="570180"/>
                </a:xfrm>
              </p:grpSpPr>
              <p:pic>
                <p:nvPicPr>
                  <p:cNvPr id="407" name="Picture 406">
                    <a:extLst>
                      <a:ext uri="{FF2B5EF4-FFF2-40B4-BE49-F238E27FC236}">
                        <a16:creationId xmlns:a16="http://schemas.microsoft.com/office/drawing/2014/main" id="{95357565-8A38-4A69-9542-0C9977B028CD}"/>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8" name="Group 407">
                    <a:extLst>
                      <a:ext uri="{FF2B5EF4-FFF2-40B4-BE49-F238E27FC236}">
                        <a16:creationId xmlns:a16="http://schemas.microsoft.com/office/drawing/2014/main" id="{EBAF9948-DE55-473F-B698-63BB0D80065B}"/>
                      </a:ext>
                    </a:extLst>
                  </p:cNvPr>
                  <p:cNvGrpSpPr/>
                  <p:nvPr/>
                </p:nvGrpSpPr>
                <p:grpSpPr>
                  <a:xfrm>
                    <a:off x="1543272" y="4740617"/>
                    <a:ext cx="824865" cy="570180"/>
                    <a:chOff x="1487917" y="4740617"/>
                    <a:chExt cx="920385" cy="570180"/>
                  </a:xfrm>
                </p:grpSpPr>
                <p:sp>
                  <p:nvSpPr>
                    <p:cNvPr id="409" name="Freeform: Shape 408">
                      <a:extLst>
                        <a:ext uri="{FF2B5EF4-FFF2-40B4-BE49-F238E27FC236}">
                          <a16:creationId xmlns:a16="http://schemas.microsoft.com/office/drawing/2014/main" id="{16970DAA-9BD9-4812-9090-2027876065E3}"/>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10" name="Straight Connector 409">
                      <a:extLst>
                        <a:ext uri="{FF2B5EF4-FFF2-40B4-BE49-F238E27FC236}">
                          <a16:creationId xmlns:a16="http://schemas.microsoft.com/office/drawing/2014/main" id="{047BF4EA-EB7A-4671-9098-FCAFED6BEBAA}"/>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99" name="Group 398">
                  <a:extLst>
                    <a:ext uri="{FF2B5EF4-FFF2-40B4-BE49-F238E27FC236}">
                      <a16:creationId xmlns:a16="http://schemas.microsoft.com/office/drawing/2014/main" id="{FB5E572C-FECE-4579-9BB4-A465F4EC413A}"/>
                    </a:ext>
                  </a:extLst>
                </p:cNvPr>
                <p:cNvGrpSpPr/>
                <p:nvPr/>
              </p:nvGrpSpPr>
              <p:grpSpPr>
                <a:xfrm>
                  <a:off x="1985291" y="5336844"/>
                  <a:ext cx="655186" cy="452890"/>
                  <a:chOff x="1543272" y="4740617"/>
                  <a:chExt cx="824865" cy="570180"/>
                </a:xfrm>
              </p:grpSpPr>
              <p:pic>
                <p:nvPicPr>
                  <p:cNvPr id="403" name="Picture 402">
                    <a:extLst>
                      <a:ext uri="{FF2B5EF4-FFF2-40B4-BE49-F238E27FC236}">
                        <a16:creationId xmlns:a16="http://schemas.microsoft.com/office/drawing/2014/main" id="{9BEDEDBC-9AE0-4C26-8A1C-B9C36B4C4BF5}"/>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4" name="Group 403">
                    <a:extLst>
                      <a:ext uri="{FF2B5EF4-FFF2-40B4-BE49-F238E27FC236}">
                        <a16:creationId xmlns:a16="http://schemas.microsoft.com/office/drawing/2014/main" id="{C25D4192-CC64-439F-AD4A-60466A4AC460}"/>
                      </a:ext>
                    </a:extLst>
                  </p:cNvPr>
                  <p:cNvGrpSpPr/>
                  <p:nvPr/>
                </p:nvGrpSpPr>
                <p:grpSpPr>
                  <a:xfrm>
                    <a:off x="1543272" y="4740617"/>
                    <a:ext cx="824865" cy="570180"/>
                    <a:chOff x="1487917" y="4740617"/>
                    <a:chExt cx="920385" cy="570180"/>
                  </a:xfrm>
                </p:grpSpPr>
                <p:sp>
                  <p:nvSpPr>
                    <p:cNvPr id="405" name="Freeform: Shape 404">
                      <a:extLst>
                        <a:ext uri="{FF2B5EF4-FFF2-40B4-BE49-F238E27FC236}">
                          <a16:creationId xmlns:a16="http://schemas.microsoft.com/office/drawing/2014/main" id="{0242E19B-B575-4C99-9BF6-3C0A76779CA9}"/>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06" name="Straight Connector 405">
                      <a:extLst>
                        <a:ext uri="{FF2B5EF4-FFF2-40B4-BE49-F238E27FC236}">
                          <a16:creationId xmlns:a16="http://schemas.microsoft.com/office/drawing/2014/main" id="{6E01F2C3-0579-4008-9EE1-697E4DA642ED}"/>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00" name="Straight Connector 399">
                  <a:extLst>
                    <a:ext uri="{FF2B5EF4-FFF2-40B4-BE49-F238E27FC236}">
                      <a16:creationId xmlns:a16="http://schemas.microsoft.com/office/drawing/2014/main" id="{35BEA82D-1512-44E6-AB89-825D28752954}"/>
                    </a:ext>
                  </a:extLst>
                </p:cNvPr>
                <p:cNvCxnSpPr>
                  <a:cxnSpLocks/>
                </p:cNvCxnSpPr>
                <p:nvPr/>
              </p:nvCxnSpPr>
              <p:spPr>
                <a:xfrm>
                  <a:off x="1618896" y="5127073"/>
                  <a:ext cx="365485" cy="365485"/>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3D5B9978-8242-4C41-B770-1E7DC4014925}"/>
                    </a:ext>
                  </a:extLst>
                </p:cNvPr>
                <p:cNvSpPr txBox="1"/>
                <p:nvPr/>
              </p:nvSpPr>
              <p:spPr>
                <a:xfrm>
                  <a:off x="1337402" y="4230417"/>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1</a:t>
                  </a:r>
                  <a:endParaRPr lang="en-US" i="1">
                    <a:solidFill>
                      <a:srgbClr val="000000"/>
                    </a:solidFill>
                    <a:latin typeface="Calibri" panose="020F0502020204030204"/>
                  </a:endParaRPr>
                </a:p>
              </p:txBody>
            </p:sp>
            <p:sp>
              <p:nvSpPr>
                <p:cNvPr id="402" name="TextBox 401">
                  <a:extLst>
                    <a:ext uri="{FF2B5EF4-FFF2-40B4-BE49-F238E27FC236}">
                      <a16:creationId xmlns:a16="http://schemas.microsoft.com/office/drawing/2014/main" id="{604C1D0D-2C82-49C5-9FE2-A99D7FD74128}"/>
                    </a:ext>
                  </a:extLst>
                </p:cNvPr>
                <p:cNvSpPr txBox="1"/>
                <p:nvPr/>
              </p:nvSpPr>
              <p:spPr>
                <a:xfrm>
                  <a:off x="1986254" y="4940920"/>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2</a:t>
                  </a:r>
                  <a:endParaRPr lang="en-US" i="1">
                    <a:solidFill>
                      <a:srgbClr val="000000"/>
                    </a:solidFill>
                    <a:latin typeface="Calibri" panose="020F0502020204030204"/>
                  </a:endParaRPr>
                </a:p>
              </p:txBody>
            </p:sp>
          </p:grpSp>
        </p:grpSp>
        <p:cxnSp>
          <p:nvCxnSpPr>
            <p:cNvPr id="342" name="Straight Connector 341">
              <a:extLst>
                <a:ext uri="{FF2B5EF4-FFF2-40B4-BE49-F238E27FC236}">
                  <a16:creationId xmlns:a16="http://schemas.microsoft.com/office/drawing/2014/main" id="{09C0D27B-9837-4F2B-B5EC-5DBC4556E08D}"/>
                </a:ext>
              </a:extLst>
            </p:cNvPr>
            <p:cNvCxnSpPr>
              <a:cxnSpLocks/>
            </p:cNvCxnSpPr>
            <p:nvPr/>
          </p:nvCxnSpPr>
          <p:spPr>
            <a:xfrm>
              <a:off x="10400199" y="4993319"/>
              <a:ext cx="354377" cy="0"/>
            </a:xfrm>
            <a:prstGeom prst="line">
              <a:avLst/>
            </a:prstGeom>
            <a:noFill/>
            <a:ln w="19050" cap="flat" cmpd="sng" algn="ctr">
              <a:solidFill>
                <a:schemeClr val="tx1"/>
              </a:solidFill>
              <a:prstDash val="solid"/>
              <a:headEnd type="arrow" w="sm" len="sm"/>
              <a:tailEnd type="arrow" w="sm" len="sm"/>
            </a:ln>
            <a:effectLst/>
          </p:spPr>
        </p:cxnSp>
        <p:grpSp>
          <p:nvGrpSpPr>
            <p:cNvPr id="343" name="Group 342">
              <a:extLst>
                <a:ext uri="{FF2B5EF4-FFF2-40B4-BE49-F238E27FC236}">
                  <a16:creationId xmlns:a16="http://schemas.microsoft.com/office/drawing/2014/main" id="{36BCBCFE-3B14-483D-91FB-01617A6EEDC3}"/>
                </a:ext>
              </a:extLst>
            </p:cNvPr>
            <p:cNvGrpSpPr/>
            <p:nvPr/>
          </p:nvGrpSpPr>
          <p:grpSpPr>
            <a:xfrm>
              <a:off x="8228779" y="4223582"/>
              <a:ext cx="2185505" cy="1490329"/>
              <a:chOff x="7345695" y="4223582"/>
              <a:chExt cx="2185505" cy="1490329"/>
            </a:xfrm>
          </p:grpSpPr>
          <p:grpSp>
            <p:nvGrpSpPr>
              <p:cNvPr id="344" name="Group 343">
                <a:extLst>
                  <a:ext uri="{FF2B5EF4-FFF2-40B4-BE49-F238E27FC236}">
                    <a16:creationId xmlns:a16="http://schemas.microsoft.com/office/drawing/2014/main" id="{BDB18093-D0C5-42A0-9AD8-DFFF966F234C}"/>
                  </a:ext>
                </a:extLst>
              </p:cNvPr>
              <p:cNvGrpSpPr/>
              <p:nvPr/>
            </p:nvGrpSpPr>
            <p:grpSpPr>
              <a:xfrm>
                <a:off x="7345695" y="4426822"/>
                <a:ext cx="2185505" cy="1287089"/>
                <a:chOff x="5692158" y="4809369"/>
                <a:chExt cx="2185505" cy="1287089"/>
              </a:xfrm>
            </p:grpSpPr>
            <p:sp>
              <p:nvSpPr>
                <p:cNvPr id="346" name="Rectangle: Rounded Corners 345">
                  <a:extLst>
                    <a:ext uri="{FF2B5EF4-FFF2-40B4-BE49-F238E27FC236}">
                      <a16:creationId xmlns:a16="http://schemas.microsoft.com/office/drawing/2014/main" id="{96AD6B76-8C0F-49AF-9A5D-90C26F917447}"/>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47" name="Group 346">
                  <a:extLst>
                    <a:ext uri="{FF2B5EF4-FFF2-40B4-BE49-F238E27FC236}">
                      <a16:creationId xmlns:a16="http://schemas.microsoft.com/office/drawing/2014/main" id="{3E8229FB-6D05-4CEB-96C1-0D0666A4993A}"/>
                    </a:ext>
                  </a:extLst>
                </p:cNvPr>
                <p:cNvGrpSpPr/>
                <p:nvPr/>
              </p:nvGrpSpPr>
              <p:grpSpPr>
                <a:xfrm>
                  <a:off x="6342403" y="5323269"/>
                  <a:ext cx="885014" cy="220351"/>
                  <a:chOff x="9669274" y="2735571"/>
                  <a:chExt cx="1187783" cy="295735"/>
                </a:xfrm>
              </p:grpSpPr>
              <p:cxnSp>
                <p:nvCxnSpPr>
                  <p:cNvPr id="394" name="Straight Connector 393">
                    <a:extLst>
                      <a:ext uri="{FF2B5EF4-FFF2-40B4-BE49-F238E27FC236}">
                        <a16:creationId xmlns:a16="http://schemas.microsoft.com/office/drawing/2014/main" id="{9A015979-729E-4236-A4F2-9EFE3EAC756B}"/>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8D68D403-FC2B-429F-BD8C-E368A2E07EB0}"/>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348" name="Group 347">
                  <a:extLst>
                    <a:ext uri="{FF2B5EF4-FFF2-40B4-BE49-F238E27FC236}">
                      <a16:creationId xmlns:a16="http://schemas.microsoft.com/office/drawing/2014/main" id="{193D3174-768B-4705-9AE9-B47148F970F9}"/>
                    </a:ext>
                  </a:extLst>
                </p:cNvPr>
                <p:cNvGrpSpPr/>
                <p:nvPr/>
              </p:nvGrpSpPr>
              <p:grpSpPr>
                <a:xfrm>
                  <a:off x="5772269" y="5533472"/>
                  <a:ext cx="834695" cy="455697"/>
                  <a:chOff x="9734441" y="1953771"/>
                  <a:chExt cx="1120250" cy="611592"/>
                </a:xfrm>
              </p:grpSpPr>
              <p:grpSp>
                <p:nvGrpSpPr>
                  <p:cNvPr id="380" name="Group 379">
                    <a:extLst>
                      <a:ext uri="{FF2B5EF4-FFF2-40B4-BE49-F238E27FC236}">
                        <a16:creationId xmlns:a16="http://schemas.microsoft.com/office/drawing/2014/main" id="{A98A0D72-F16D-4C7B-BC61-3894166E4919}"/>
                      </a:ext>
                    </a:extLst>
                  </p:cNvPr>
                  <p:cNvGrpSpPr/>
                  <p:nvPr/>
                </p:nvGrpSpPr>
                <p:grpSpPr>
                  <a:xfrm>
                    <a:off x="9818293" y="2253328"/>
                    <a:ext cx="972173" cy="243489"/>
                    <a:chOff x="3291539" y="4628710"/>
                    <a:chExt cx="1006833" cy="279854"/>
                  </a:xfrm>
                </p:grpSpPr>
                <p:grpSp>
                  <p:nvGrpSpPr>
                    <p:cNvPr id="383" name="Group 382">
                      <a:extLst>
                        <a:ext uri="{FF2B5EF4-FFF2-40B4-BE49-F238E27FC236}">
                          <a16:creationId xmlns:a16="http://schemas.microsoft.com/office/drawing/2014/main" id="{32958744-ECAB-4B3A-9A9C-33A23F0AF345}"/>
                        </a:ext>
                      </a:extLst>
                    </p:cNvPr>
                    <p:cNvGrpSpPr/>
                    <p:nvPr/>
                  </p:nvGrpSpPr>
                  <p:grpSpPr>
                    <a:xfrm>
                      <a:off x="3291539" y="4628710"/>
                      <a:ext cx="404860" cy="279854"/>
                      <a:chOff x="1492896" y="4740617"/>
                      <a:chExt cx="824865" cy="570180"/>
                    </a:xfrm>
                  </p:grpSpPr>
                  <p:pic>
                    <p:nvPicPr>
                      <p:cNvPr id="390" name="Picture 389">
                        <a:extLst>
                          <a:ext uri="{FF2B5EF4-FFF2-40B4-BE49-F238E27FC236}">
                            <a16:creationId xmlns:a16="http://schemas.microsoft.com/office/drawing/2014/main" id="{2F3C92A1-7810-48DC-A209-9298150EAAB4}"/>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91" name="Group 390">
                        <a:extLst>
                          <a:ext uri="{FF2B5EF4-FFF2-40B4-BE49-F238E27FC236}">
                            <a16:creationId xmlns:a16="http://schemas.microsoft.com/office/drawing/2014/main" id="{B71BCC0D-EDAE-4714-A800-06231F861F78}"/>
                          </a:ext>
                        </a:extLst>
                      </p:cNvPr>
                      <p:cNvGrpSpPr/>
                      <p:nvPr/>
                    </p:nvGrpSpPr>
                    <p:grpSpPr>
                      <a:xfrm>
                        <a:off x="1492896" y="4740617"/>
                        <a:ext cx="824865" cy="570180"/>
                        <a:chOff x="1431708" y="4740617"/>
                        <a:chExt cx="920385" cy="570180"/>
                      </a:xfrm>
                    </p:grpSpPr>
                    <p:sp>
                      <p:nvSpPr>
                        <p:cNvPr id="392" name="Freeform: Shape 391">
                          <a:extLst>
                            <a:ext uri="{FF2B5EF4-FFF2-40B4-BE49-F238E27FC236}">
                              <a16:creationId xmlns:a16="http://schemas.microsoft.com/office/drawing/2014/main" id="{14C29D35-AAB6-499E-A4F0-910043312835}"/>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93" name="Straight Connector 392">
                          <a:extLst>
                            <a:ext uri="{FF2B5EF4-FFF2-40B4-BE49-F238E27FC236}">
                              <a16:creationId xmlns:a16="http://schemas.microsoft.com/office/drawing/2014/main" id="{1162ED59-D19D-44A7-ABF7-3B4E2D146C8B}"/>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84" name="Group 383">
                      <a:extLst>
                        <a:ext uri="{FF2B5EF4-FFF2-40B4-BE49-F238E27FC236}">
                          <a16:creationId xmlns:a16="http://schemas.microsoft.com/office/drawing/2014/main" id="{703C632C-0469-4A24-A7CD-964B052ABEB2}"/>
                        </a:ext>
                      </a:extLst>
                    </p:cNvPr>
                    <p:cNvGrpSpPr/>
                    <p:nvPr/>
                  </p:nvGrpSpPr>
                  <p:grpSpPr>
                    <a:xfrm>
                      <a:off x="3893512" y="4628710"/>
                      <a:ext cx="404860" cy="279854"/>
                      <a:chOff x="1323280" y="4740617"/>
                      <a:chExt cx="824865" cy="570180"/>
                    </a:xfrm>
                  </p:grpSpPr>
                  <p:pic>
                    <p:nvPicPr>
                      <p:cNvPr id="386" name="Picture 385">
                        <a:extLst>
                          <a:ext uri="{FF2B5EF4-FFF2-40B4-BE49-F238E27FC236}">
                            <a16:creationId xmlns:a16="http://schemas.microsoft.com/office/drawing/2014/main" id="{746BB791-7505-48B0-88FE-3760C552CA6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87" name="Group 386">
                        <a:extLst>
                          <a:ext uri="{FF2B5EF4-FFF2-40B4-BE49-F238E27FC236}">
                            <a16:creationId xmlns:a16="http://schemas.microsoft.com/office/drawing/2014/main" id="{ECE14B05-A451-468A-A9EB-0E5949A13AA5}"/>
                          </a:ext>
                        </a:extLst>
                      </p:cNvPr>
                      <p:cNvGrpSpPr/>
                      <p:nvPr/>
                    </p:nvGrpSpPr>
                    <p:grpSpPr>
                      <a:xfrm>
                        <a:off x="1323280" y="4740617"/>
                        <a:ext cx="824865" cy="570180"/>
                        <a:chOff x="1242450" y="4740617"/>
                        <a:chExt cx="920385" cy="570180"/>
                      </a:xfrm>
                    </p:grpSpPr>
                    <p:sp>
                      <p:nvSpPr>
                        <p:cNvPr id="388" name="Freeform: Shape 387">
                          <a:extLst>
                            <a:ext uri="{FF2B5EF4-FFF2-40B4-BE49-F238E27FC236}">
                              <a16:creationId xmlns:a16="http://schemas.microsoft.com/office/drawing/2014/main" id="{9F015E8E-7614-41C1-9AA2-6D99AF246B2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89" name="Straight Connector 388">
                          <a:extLst>
                            <a:ext uri="{FF2B5EF4-FFF2-40B4-BE49-F238E27FC236}">
                              <a16:creationId xmlns:a16="http://schemas.microsoft.com/office/drawing/2014/main" id="{B336D6A2-6595-4930-BE75-4AE6C636E720}"/>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85" name="Straight Connector 384">
                      <a:extLst>
                        <a:ext uri="{FF2B5EF4-FFF2-40B4-BE49-F238E27FC236}">
                          <a16:creationId xmlns:a16="http://schemas.microsoft.com/office/drawing/2014/main" id="{8727ECDA-7950-4C0E-98BB-0B2304B42CF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81" name="Rectangle: Rounded Corners 380">
                    <a:extLst>
                      <a:ext uri="{FF2B5EF4-FFF2-40B4-BE49-F238E27FC236}">
                        <a16:creationId xmlns:a16="http://schemas.microsoft.com/office/drawing/2014/main" id="{2FE88134-15F8-4C74-A490-62F3EC2FAEFE}"/>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82" name="TextBox 381">
                    <a:extLst>
                      <a:ext uri="{FF2B5EF4-FFF2-40B4-BE49-F238E27FC236}">
                        <a16:creationId xmlns:a16="http://schemas.microsoft.com/office/drawing/2014/main" id="{E1CB2C9B-EBAB-4E21-9E37-B0C4E78CAF53}"/>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349" name="Straight Arrow Connector 348">
                  <a:extLst>
                    <a:ext uri="{FF2B5EF4-FFF2-40B4-BE49-F238E27FC236}">
                      <a16:creationId xmlns:a16="http://schemas.microsoft.com/office/drawing/2014/main" id="{19AE7059-5BE4-473C-AFFA-5AE8AEB45DBE}"/>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350" name="Group 349">
                  <a:extLst>
                    <a:ext uri="{FF2B5EF4-FFF2-40B4-BE49-F238E27FC236}">
                      <a16:creationId xmlns:a16="http://schemas.microsoft.com/office/drawing/2014/main" id="{017DCFFD-7C1B-4285-A13A-7B195B45FEED}"/>
                    </a:ext>
                  </a:extLst>
                </p:cNvPr>
                <p:cNvGrpSpPr/>
                <p:nvPr/>
              </p:nvGrpSpPr>
              <p:grpSpPr>
                <a:xfrm>
                  <a:off x="6971149" y="5533472"/>
                  <a:ext cx="834695" cy="455697"/>
                  <a:chOff x="9734441" y="1953771"/>
                  <a:chExt cx="1120250" cy="611592"/>
                </a:xfrm>
              </p:grpSpPr>
              <p:grpSp>
                <p:nvGrpSpPr>
                  <p:cNvPr id="366" name="Group 365">
                    <a:extLst>
                      <a:ext uri="{FF2B5EF4-FFF2-40B4-BE49-F238E27FC236}">
                        <a16:creationId xmlns:a16="http://schemas.microsoft.com/office/drawing/2014/main" id="{13BAA5B2-2E3A-4B0F-B0F3-CF32E031A69E}"/>
                      </a:ext>
                    </a:extLst>
                  </p:cNvPr>
                  <p:cNvGrpSpPr/>
                  <p:nvPr/>
                </p:nvGrpSpPr>
                <p:grpSpPr>
                  <a:xfrm>
                    <a:off x="9818293" y="2253328"/>
                    <a:ext cx="972173" cy="243489"/>
                    <a:chOff x="3291539" y="4628710"/>
                    <a:chExt cx="1006833" cy="279854"/>
                  </a:xfrm>
                </p:grpSpPr>
                <p:grpSp>
                  <p:nvGrpSpPr>
                    <p:cNvPr id="369" name="Group 368">
                      <a:extLst>
                        <a:ext uri="{FF2B5EF4-FFF2-40B4-BE49-F238E27FC236}">
                          <a16:creationId xmlns:a16="http://schemas.microsoft.com/office/drawing/2014/main" id="{682C78BC-99EE-45AB-BFC2-AF4FD6687013}"/>
                        </a:ext>
                      </a:extLst>
                    </p:cNvPr>
                    <p:cNvGrpSpPr/>
                    <p:nvPr/>
                  </p:nvGrpSpPr>
                  <p:grpSpPr>
                    <a:xfrm>
                      <a:off x="3291539" y="4628710"/>
                      <a:ext cx="404860" cy="279854"/>
                      <a:chOff x="1492896" y="4740617"/>
                      <a:chExt cx="824865" cy="570180"/>
                    </a:xfrm>
                  </p:grpSpPr>
                  <p:pic>
                    <p:nvPicPr>
                      <p:cNvPr id="376" name="Picture 375">
                        <a:extLst>
                          <a:ext uri="{FF2B5EF4-FFF2-40B4-BE49-F238E27FC236}">
                            <a16:creationId xmlns:a16="http://schemas.microsoft.com/office/drawing/2014/main" id="{A7A94D26-A914-4F87-AB6D-118D93931FD2}"/>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77" name="Group 376">
                        <a:extLst>
                          <a:ext uri="{FF2B5EF4-FFF2-40B4-BE49-F238E27FC236}">
                            <a16:creationId xmlns:a16="http://schemas.microsoft.com/office/drawing/2014/main" id="{37308EEC-D99F-4E24-B9F3-E13F13084B7E}"/>
                          </a:ext>
                        </a:extLst>
                      </p:cNvPr>
                      <p:cNvGrpSpPr/>
                      <p:nvPr/>
                    </p:nvGrpSpPr>
                    <p:grpSpPr>
                      <a:xfrm>
                        <a:off x="1492896" y="4740617"/>
                        <a:ext cx="824865" cy="570180"/>
                        <a:chOff x="1431708" y="4740617"/>
                        <a:chExt cx="920385" cy="570180"/>
                      </a:xfrm>
                    </p:grpSpPr>
                    <p:sp>
                      <p:nvSpPr>
                        <p:cNvPr id="378" name="Freeform: Shape 377">
                          <a:extLst>
                            <a:ext uri="{FF2B5EF4-FFF2-40B4-BE49-F238E27FC236}">
                              <a16:creationId xmlns:a16="http://schemas.microsoft.com/office/drawing/2014/main" id="{DDBB562E-BF0D-4B47-9A08-4A2DDDCC83A2}"/>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9" name="Straight Connector 378">
                          <a:extLst>
                            <a:ext uri="{FF2B5EF4-FFF2-40B4-BE49-F238E27FC236}">
                              <a16:creationId xmlns:a16="http://schemas.microsoft.com/office/drawing/2014/main" id="{DD58EE72-92F4-47C8-B8EF-98A467D9EA5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70" name="Group 369">
                      <a:extLst>
                        <a:ext uri="{FF2B5EF4-FFF2-40B4-BE49-F238E27FC236}">
                          <a16:creationId xmlns:a16="http://schemas.microsoft.com/office/drawing/2014/main" id="{B5966EB7-7EDF-48E6-BE44-FBA0DA3B7201}"/>
                        </a:ext>
                      </a:extLst>
                    </p:cNvPr>
                    <p:cNvGrpSpPr/>
                    <p:nvPr/>
                  </p:nvGrpSpPr>
                  <p:grpSpPr>
                    <a:xfrm>
                      <a:off x="3893512" y="4628710"/>
                      <a:ext cx="404860" cy="279854"/>
                      <a:chOff x="1323280" y="4740617"/>
                      <a:chExt cx="824865" cy="570180"/>
                    </a:xfrm>
                  </p:grpSpPr>
                  <p:pic>
                    <p:nvPicPr>
                      <p:cNvPr id="372" name="Picture 371">
                        <a:extLst>
                          <a:ext uri="{FF2B5EF4-FFF2-40B4-BE49-F238E27FC236}">
                            <a16:creationId xmlns:a16="http://schemas.microsoft.com/office/drawing/2014/main" id="{5B4F893A-8250-4835-8C58-750D3C20377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73" name="Group 372">
                        <a:extLst>
                          <a:ext uri="{FF2B5EF4-FFF2-40B4-BE49-F238E27FC236}">
                            <a16:creationId xmlns:a16="http://schemas.microsoft.com/office/drawing/2014/main" id="{DC85FADA-26B9-4768-B012-B515981C3F27}"/>
                          </a:ext>
                        </a:extLst>
                      </p:cNvPr>
                      <p:cNvGrpSpPr/>
                      <p:nvPr/>
                    </p:nvGrpSpPr>
                    <p:grpSpPr>
                      <a:xfrm>
                        <a:off x="1323280" y="4740617"/>
                        <a:ext cx="824865" cy="570180"/>
                        <a:chOff x="1242450" y="4740617"/>
                        <a:chExt cx="920385" cy="570180"/>
                      </a:xfrm>
                    </p:grpSpPr>
                    <p:sp>
                      <p:nvSpPr>
                        <p:cNvPr id="374" name="Freeform: Shape 373">
                          <a:extLst>
                            <a:ext uri="{FF2B5EF4-FFF2-40B4-BE49-F238E27FC236}">
                              <a16:creationId xmlns:a16="http://schemas.microsoft.com/office/drawing/2014/main" id="{6876F4F4-AC05-4A67-A14D-EEC683B3C03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5" name="Straight Connector 374">
                          <a:extLst>
                            <a:ext uri="{FF2B5EF4-FFF2-40B4-BE49-F238E27FC236}">
                              <a16:creationId xmlns:a16="http://schemas.microsoft.com/office/drawing/2014/main" id="{9915196D-A6C2-421A-84DA-1C21E2B0438D}"/>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71" name="Straight Connector 370">
                      <a:extLst>
                        <a:ext uri="{FF2B5EF4-FFF2-40B4-BE49-F238E27FC236}">
                          <a16:creationId xmlns:a16="http://schemas.microsoft.com/office/drawing/2014/main" id="{4A1DA282-849B-463B-A4E6-E3F1AC3E1F42}"/>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67" name="Rectangle: Rounded Corners 366">
                    <a:extLst>
                      <a:ext uri="{FF2B5EF4-FFF2-40B4-BE49-F238E27FC236}">
                        <a16:creationId xmlns:a16="http://schemas.microsoft.com/office/drawing/2014/main" id="{CEE43203-B02B-4A61-A2E5-946576AC085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68" name="TextBox 367">
                    <a:extLst>
                      <a:ext uri="{FF2B5EF4-FFF2-40B4-BE49-F238E27FC236}">
                        <a16:creationId xmlns:a16="http://schemas.microsoft.com/office/drawing/2014/main" id="{E02C851A-1001-4ABC-B066-8CA25D1E58D5}"/>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351" name="Group 350">
                  <a:extLst>
                    <a:ext uri="{FF2B5EF4-FFF2-40B4-BE49-F238E27FC236}">
                      <a16:creationId xmlns:a16="http://schemas.microsoft.com/office/drawing/2014/main" id="{98B4D821-8236-4C3B-8182-C3B93C1FCC3E}"/>
                    </a:ext>
                  </a:extLst>
                </p:cNvPr>
                <p:cNvGrpSpPr/>
                <p:nvPr/>
              </p:nvGrpSpPr>
              <p:grpSpPr>
                <a:xfrm>
                  <a:off x="6369682" y="4856560"/>
                  <a:ext cx="834695" cy="455697"/>
                  <a:chOff x="9734441" y="1953771"/>
                  <a:chExt cx="1120250" cy="611592"/>
                </a:xfrm>
              </p:grpSpPr>
              <p:grpSp>
                <p:nvGrpSpPr>
                  <p:cNvPr id="352" name="Group 351">
                    <a:extLst>
                      <a:ext uri="{FF2B5EF4-FFF2-40B4-BE49-F238E27FC236}">
                        <a16:creationId xmlns:a16="http://schemas.microsoft.com/office/drawing/2014/main" id="{77F102B7-FD1E-49F1-A4F1-0D469216B2E9}"/>
                      </a:ext>
                    </a:extLst>
                  </p:cNvPr>
                  <p:cNvGrpSpPr/>
                  <p:nvPr/>
                </p:nvGrpSpPr>
                <p:grpSpPr>
                  <a:xfrm>
                    <a:off x="9818293" y="2253328"/>
                    <a:ext cx="972173" cy="243489"/>
                    <a:chOff x="3291539" y="4628710"/>
                    <a:chExt cx="1006833" cy="279854"/>
                  </a:xfrm>
                </p:grpSpPr>
                <p:grpSp>
                  <p:nvGrpSpPr>
                    <p:cNvPr id="355" name="Group 354">
                      <a:extLst>
                        <a:ext uri="{FF2B5EF4-FFF2-40B4-BE49-F238E27FC236}">
                          <a16:creationId xmlns:a16="http://schemas.microsoft.com/office/drawing/2014/main" id="{BABCAD90-CA8C-43CE-8B84-27751F16D953}"/>
                        </a:ext>
                      </a:extLst>
                    </p:cNvPr>
                    <p:cNvGrpSpPr/>
                    <p:nvPr/>
                  </p:nvGrpSpPr>
                  <p:grpSpPr>
                    <a:xfrm>
                      <a:off x="3291539" y="4628710"/>
                      <a:ext cx="404860" cy="279854"/>
                      <a:chOff x="1492896" y="4740617"/>
                      <a:chExt cx="824865" cy="570180"/>
                    </a:xfrm>
                  </p:grpSpPr>
                  <p:pic>
                    <p:nvPicPr>
                      <p:cNvPr id="362" name="Picture 361">
                        <a:extLst>
                          <a:ext uri="{FF2B5EF4-FFF2-40B4-BE49-F238E27FC236}">
                            <a16:creationId xmlns:a16="http://schemas.microsoft.com/office/drawing/2014/main" id="{1172ABAF-D340-4C70-B409-C4F32C8DD63B}"/>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63" name="Group 362">
                        <a:extLst>
                          <a:ext uri="{FF2B5EF4-FFF2-40B4-BE49-F238E27FC236}">
                            <a16:creationId xmlns:a16="http://schemas.microsoft.com/office/drawing/2014/main" id="{719BA084-A238-45F7-89B4-A59C4808CF80}"/>
                          </a:ext>
                        </a:extLst>
                      </p:cNvPr>
                      <p:cNvGrpSpPr/>
                      <p:nvPr/>
                    </p:nvGrpSpPr>
                    <p:grpSpPr>
                      <a:xfrm>
                        <a:off x="1492896" y="4740617"/>
                        <a:ext cx="824865" cy="570180"/>
                        <a:chOff x="1431708" y="4740617"/>
                        <a:chExt cx="920385" cy="570180"/>
                      </a:xfrm>
                    </p:grpSpPr>
                    <p:sp>
                      <p:nvSpPr>
                        <p:cNvPr id="364" name="Freeform: Shape 363">
                          <a:extLst>
                            <a:ext uri="{FF2B5EF4-FFF2-40B4-BE49-F238E27FC236}">
                              <a16:creationId xmlns:a16="http://schemas.microsoft.com/office/drawing/2014/main" id="{ED00F98D-73AF-45E2-ACE9-A6B6EDA9E2B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5" name="Straight Connector 364">
                          <a:extLst>
                            <a:ext uri="{FF2B5EF4-FFF2-40B4-BE49-F238E27FC236}">
                              <a16:creationId xmlns:a16="http://schemas.microsoft.com/office/drawing/2014/main" id="{B0F5058B-2FC9-4496-9D2A-8E82D906EA4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56" name="Group 355">
                      <a:extLst>
                        <a:ext uri="{FF2B5EF4-FFF2-40B4-BE49-F238E27FC236}">
                          <a16:creationId xmlns:a16="http://schemas.microsoft.com/office/drawing/2014/main" id="{74A16976-AB63-41A1-A20E-8D28B78A2686}"/>
                        </a:ext>
                      </a:extLst>
                    </p:cNvPr>
                    <p:cNvGrpSpPr/>
                    <p:nvPr/>
                  </p:nvGrpSpPr>
                  <p:grpSpPr>
                    <a:xfrm>
                      <a:off x="3893512" y="4628710"/>
                      <a:ext cx="404860" cy="279854"/>
                      <a:chOff x="1323280" y="4740617"/>
                      <a:chExt cx="824865" cy="570180"/>
                    </a:xfrm>
                  </p:grpSpPr>
                  <p:pic>
                    <p:nvPicPr>
                      <p:cNvPr id="358" name="Picture 357">
                        <a:extLst>
                          <a:ext uri="{FF2B5EF4-FFF2-40B4-BE49-F238E27FC236}">
                            <a16:creationId xmlns:a16="http://schemas.microsoft.com/office/drawing/2014/main" id="{96240C9A-9B41-4853-96DA-8A9084B6D28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59" name="Group 358">
                        <a:extLst>
                          <a:ext uri="{FF2B5EF4-FFF2-40B4-BE49-F238E27FC236}">
                            <a16:creationId xmlns:a16="http://schemas.microsoft.com/office/drawing/2014/main" id="{CD47C12D-D2C9-49F5-B182-F0F254E76E72}"/>
                          </a:ext>
                        </a:extLst>
                      </p:cNvPr>
                      <p:cNvGrpSpPr/>
                      <p:nvPr/>
                    </p:nvGrpSpPr>
                    <p:grpSpPr>
                      <a:xfrm>
                        <a:off x="1323280" y="4740617"/>
                        <a:ext cx="824865" cy="570180"/>
                        <a:chOff x="1242450" y="4740617"/>
                        <a:chExt cx="920385" cy="570180"/>
                      </a:xfrm>
                    </p:grpSpPr>
                    <p:sp>
                      <p:nvSpPr>
                        <p:cNvPr id="360" name="Freeform: Shape 359">
                          <a:extLst>
                            <a:ext uri="{FF2B5EF4-FFF2-40B4-BE49-F238E27FC236}">
                              <a16:creationId xmlns:a16="http://schemas.microsoft.com/office/drawing/2014/main" id="{CAF955A1-C409-43EE-9123-5969FE2071D6}"/>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1" name="Straight Connector 360">
                          <a:extLst>
                            <a:ext uri="{FF2B5EF4-FFF2-40B4-BE49-F238E27FC236}">
                              <a16:creationId xmlns:a16="http://schemas.microsoft.com/office/drawing/2014/main" id="{57662719-147A-4E6F-A5D8-7858ED2E0C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57" name="Straight Connector 356">
                      <a:extLst>
                        <a:ext uri="{FF2B5EF4-FFF2-40B4-BE49-F238E27FC236}">
                          <a16:creationId xmlns:a16="http://schemas.microsoft.com/office/drawing/2014/main" id="{14827134-1A86-4EAB-BAA0-E0BF135C5B0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53" name="Rectangle: Rounded Corners 352">
                    <a:extLst>
                      <a:ext uri="{FF2B5EF4-FFF2-40B4-BE49-F238E27FC236}">
                        <a16:creationId xmlns:a16="http://schemas.microsoft.com/office/drawing/2014/main" id="{0C3D629F-B69F-4F1E-B590-3C2732C0237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54" name="TextBox 353">
                    <a:extLst>
                      <a:ext uri="{FF2B5EF4-FFF2-40B4-BE49-F238E27FC236}">
                        <a16:creationId xmlns:a16="http://schemas.microsoft.com/office/drawing/2014/main" id="{B49FEC22-A347-4C1D-B048-53F9A5DA6909}"/>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sp>
            <p:nvSpPr>
              <p:cNvPr id="345" name="TextBox 344">
                <a:extLst>
                  <a:ext uri="{FF2B5EF4-FFF2-40B4-BE49-F238E27FC236}">
                    <a16:creationId xmlns:a16="http://schemas.microsoft.com/office/drawing/2014/main" id="{B933039D-C2E9-47AE-BE3D-184DE828012B}"/>
                  </a:ext>
                </a:extLst>
              </p:cNvPr>
              <p:cNvSpPr txBox="1"/>
              <p:nvPr/>
            </p:nvSpPr>
            <p:spPr>
              <a:xfrm>
                <a:off x="8115414" y="4223582"/>
                <a:ext cx="684206" cy="166135"/>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1</a:t>
                </a:r>
                <a:endParaRPr lang="en-US" sz="2353">
                  <a:solidFill>
                    <a:srgbClr val="000000"/>
                  </a:solidFill>
                  <a:latin typeface="Segoe UI Semibold"/>
                </a:endParaRPr>
              </a:p>
            </p:txBody>
          </p:sp>
        </p:grpSp>
      </p:grpSp>
      <p:grpSp>
        <p:nvGrpSpPr>
          <p:cNvPr id="191" name="Group 190">
            <a:extLst>
              <a:ext uri="{FF2B5EF4-FFF2-40B4-BE49-F238E27FC236}">
                <a16:creationId xmlns:a16="http://schemas.microsoft.com/office/drawing/2014/main" id="{F0ACF263-2683-4948-A1E9-8E2A3B7C506C}"/>
              </a:ext>
            </a:extLst>
          </p:cNvPr>
          <p:cNvGrpSpPr/>
          <p:nvPr/>
        </p:nvGrpSpPr>
        <p:grpSpPr>
          <a:xfrm>
            <a:off x="3841957" y="3455441"/>
            <a:ext cx="281027" cy="265723"/>
            <a:chOff x="9687132" y="5337166"/>
            <a:chExt cx="207220" cy="195938"/>
          </a:xfrm>
        </p:grpSpPr>
        <p:sp>
          <p:nvSpPr>
            <p:cNvPr id="192" name="Oval 5">
              <a:extLst>
                <a:ext uri="{FF2B5EF4-FFF2-40B4-BE49-F238E27FC236}">
                  <a16:creationId xmlns:a16="http://schemas.microsoft.com/office/drawing/2014/main" id="{2529622D-4D4A-4995-9166-D6A6B04FE6D4}"/>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196" name="LightningBolt_E945" title="Icon of a lightning bolt">
              <a:extLst>
                <a:ext uri="{FF2B5EF4-FFF2-40B4-BE49-F238E27FC236}">
                  <a16:creationId xmlns:a16="http://schemas.microsoft.com/office/drawing/2014/main" id="{1E3409D7-C677-44A9-89C9-3F8FCA2A5CB4}"/>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197" name="Group 196">
            <a:extLst>
              <a:ext uri="{FF2B5EF4-FFF2-40B4-BE49-F238E27FC236}">
                <a16:creationId xmlns:a16="http://schemas.microsoft.com/office/drawing/2014/main" id="{A0EB1D21-FFF6-4E7E-A06B-F9EA7179BBF7}"/>
              </a:ext>
            </a:extLst>
          </p:cNvPr>
          <p:cNvGrpSpPr/>
          <p:nvPr/>
        </p:nvGrpSpPr>
        <p:grpSpPr>
          <a:xfrm>
            <a:off x="6960072" y="2969267"/>
            <a:ext cx="281027" cy="265723"/>
            <a:chOff x="9687132" y="5337166"/>
            <a:chExt cx="207220" cy="195938"/>
          </a:xfrm>
        </p:grpSpPr>
        <p:sp>
          <p:nvSpPr>
            <p:cNvPr id="204" name="Oval 5">
              <a:extLst>
                <a:ext uri="{FF2B5EF4-FFF2-40B4-BE49-F238E27FC236}">
                  <a16:creationId xmlns:a16="http://schemas.microsoft.com/office/drawing/2014/main" id="{D088BE7F-E346-4DA2-8BFC-8A5E8BC28297}"/>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5" name="LightningBolt_E945" title="Icon of a lightning bolt">
              <a:extLst>
                <a:ext uri="{FF2B5EF4-FFF2-40B4-BE49-F238E27FC236}">
                  <a16:creationId xmlns:a16="http://schemas.microsoft.com/office/drawing/2014/main" id="{C31307D0-A0CD-492A-95C6-8CC80CF762DD}"/>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06" name="Group 205">
            <a:extLst>
              <a:ext uri="{FF2B5EF4-FFF2-40B4-BE49-F238E27FC236}">
                <a16:creationId xmlns:a16="http://schemas.microsoft.com/office/drawing/2014/main" id="{ED943C3E-30A0-4F23-AE83-B35A2113861E}"/>
              </a:ext>
            </a:extLst>
          </p:cNvPr>
          <p:cNvGrpSpPr/>
          <p:nvPr/>
        </p:nvGrpSpPr>
        <p:grpSpPr>
          <a:xfrm>
            <a:off x="10020613" y="2757926"/>
            <a:ext cx="281027" cy="265723"/>
            <a:chOff x="9687132" y="5337166"/>
            <a:chExt cx="207220" cy="195938"/>
          </a:xfrm>
        </p:grpSpPr>
        <p:sp>
          <p:nvSpPr>
            <p:cNvPr id="207" name="Oval 5">
              <a:extLst>
                <a:ext uri="{FF2B5EF4-FFF2-40B4-BE49-F238E27FC236}">
                  <a16:creationId xmlns:a16="http://schemas.microsoft.com/office/drawing/2014/main" id="{C089E295-4F1E-4FAE-9C84-AFAB8E8072B3}"/>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8" name="LightningBolt_E945" title="Icon of a lightning bolt">
              <a:extLst>
                <a:ext uri="{FF2B5EF4-FFF2-40B4-BE49-F238E27FC236}">
                  <a16:creationId xmlns:a16="http://schemas.microsoft.com/office/drawing/2014/main" id="{E9A0A493-88E8-4CE6-A6F7-695D6794ACAB}"/>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sp>
        <p:nvSpPr>
          <p:cNvPr id="209" name="TextBox 208">
            <a:extLst>
              <a:ext uri="{FF2B5EF4-FFF2-40B4-BE49-F238E27FC236}">
                <a16:creationId xmlns:a16="http://schemas.microsoft.com/office/drawing/2014/main" id="{938CD055-7384-4E09-856F-2E6A5573B4F3}"/>
              </a:ext>
            </a:extLst>
          </p:cNvPr>
          <p:cNvSpPr txBox="1"/>
          <p:nvPr/>
        </p:nvSpPr>
        <p:spPr>
          <a:xfrm>
            <a:off x="3516721" y="3097593"/>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1</a:t>
            </a:r>
            <a:endParaRPr lang="en-US" b="1" i="1">
              <a:solidFill>
                <a:srgbClr val="000000"/>
              </a:solidFill>
              <a:latin typeface="Segoe UI"/>
            </a:endParaRPr>
          </a:p>
        </p:txBody>
      </p:sp>
      <p:sp>
        <p:nvSpPr>
          <p:cNvPr id="210" name="TextBox 209">
            <a:extLst>
              <a:ext uri="{FF2B5EF4-FFF2-40B4-BE49-F238E27FC236}">
                <a16:creationId xmlns:a16="http://schemas.microsoft.com/office/drawing/2014/main" id="{F9E11414-4978-41A3-9739-46AE19C46102}"/>
              </a:ext>
            </a:extLst>
          </p:cNvPr>
          <p:cNvSpPr txBox="1"/>
          <p:nvPr/>
        </p:nvSpPr>
        <p:spPr>
          <a:xfrm>
            <a:off x="4190614" y="3096006"/>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2</a:t>
            </a:r>
            <a:endParaRPr lang="en-US" b="1" i="1">
              <a:solidFill>
                <a:srgbClr val="000000"/>
              </a:solidFill>
              <a:latin typeface="Segoe UI"/>
            </a:endParaRPr>
          </a:p>
        </p:txBody>
      </p:sp>
      <p:grpSp>
        <p:nvGrpSpPr>
          <p:cNvPr id="211" name="Group 210">
            <a:extLst>
              <a:ext uri="{FF2B5EF4-FFF2-40B4-BE49-F238E27FC236}">
                <a16:creationId xmlns:a16="http://schemas.microsoft.com/office/drawing/2014/main" id="{BD49CAA9-5EE2-401C-A66E-2CF444FCA074}"/>
              </a:ext>
            </a:extLst>
          </p:cNvPr>
          <p:cNvGrpSpPr/>
          <p:nvPr/>
        </p:nvGrpSpPr>
        <p:grpSpPr>
          <a:xfrm>
            <a:off x="2238832" y="5238950"/>
            <a:ext cx="462146" cy="608850"/>
            <a:chOff x="3202598" y="3445817"/>
            <a:chExt cx="953991" cy="1256824"/>
          </a:xfrm>
        </p:grpSpPr>
        <p:sp>
          <p:nvSpPr>
            <p:cNvPr id="212" name="Freeform: Shape 211">
              <a:extLst>
                <a:ext uri="{FF2B5EF4-FFF2-40B4-BE49-F238E27FC236}">
                  <a16:creationId xmlns:a16="http://schemas.microsoft.com/office/drawing/2014/main" id="{38B4C377-9A2D-4162-B2B8-36D5E0B49C3E}"/>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3" name="Freeform: Shape 212">
              <a:extLst>
                <a:ext uri="{FF2B5EF4-FFF2-40B4-BE49-F238E27FC236}">
                  <a16:creationId xmlns:a16="http://schemas.microsoft.com/office/drawing/2014/main" id="{6EDF2310-735D-4771-A995-F36E4905543A}"/>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4" name="Freeform: Shape 213">
              <a:extLst>
                <a:ext uri="{FF2B5EF4-FFF2-40B4-BE49-F238E27FC236}">
                  <a16:creationId xmlns:a16="http://schemas.microsoft.com/office/drawing/2014/main" id="{E3D5F1DA-02AC-4DAE-8CBA-EE4F809C909F}"/>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5" name="Freeform: Shape 214">
              <a:extLst>
                <a:ext uri="{FF2B5EF4-FFF2-40B4-BE49-F238E27FC236}">
                  <a16:creationId xmlns:a16="http://schemas.microsoft.com/office/drawing/2014/main" id="{C62F0795-93F0-4FAC-90F8-15CE64146967}"/>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6" name="Freeform: Shape 215">
              <a:extLst>
                <a:ext uri="{FF2B5EF4-FFF2-40B4-BE49-F238E27FC236}">
                  <a16:creationId xmlns:a16="http://schemas.microsoft.com/office/drawing/2014/main" id="{041DA059-2859-4BDB-A49F-4EAF1BAD2DD0}"/>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cxnSp>
        <p:nvCxnSpPr>
          <p:cNvPr id="217" name="Straight Connector 216">
            <a:extLst>
              <a:ext uri="{FF2B5EF4-FFF2-40B4-BE49-F238E27FC236}">
                <a16:creationId xmlns:a16="http://schemas.microsoft.com/office/drawing/2014/main" id="{EEA61829-20C6-4B58-98DD-FCFDB6CDEA72}"/>
              </a:ext>
            </a:extLst>
          </p:cNvPr>
          <p:cNvCxnSpPr>
            <a:cxnSpLocks/>
          </p:cNvCxnSpPr>
          <p:nvPr/>
        </p:nvCxnSpPr>
        <p:spPr>
          <a:xfrm>
            <a:off x="1754067" y="5573853"/>
            <a:ext cx="437140"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pic>
        <p:nvPicPr>
          <p:cNvPr id="10" name="Picture 9" descr="A picture containing electronics, display&#10;&#10;Description automatically generated">
            <a:extLst>
              <a:ext uri="{FF2B5EF4-FFF2-40B4-BE49-F238E27FC236}">
                <a16:creationId xmlns:a16="http://schemas.microsoft.com/office/drawing/2014/main" id="{678D030B-595F-49BB-A3BF-35BCE32D59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993" y="3056132"/>
            <a:ext cx="614714" cy="614714"/>
          </a:xfrm>
          <a:prstGeom prst="rect">
            <a:avLst/>
          </a:prstGeom>
        </p:spPr>
      </p:pic>
      <p:grpSp>
        <p:nvGrpSpPr>
          <p:cNvPr id="433" name="Group 432">
            <a:extLst>
              <a:ext uri="{FF2B5EF4-FFF2-40B4-BE49-F238E27FC236}">
                <a16:creationId xmlns:a16="http://schemas.microsoft.com/office/drawing/2014/main" id="{F7BA5DD9-DB4E-41E9-8F9B-DD35AFB4D490}"/>
              </a:ext>
            </a:extLst>
          </p:cNvPr>
          <p:cNvGrpSpPr/>
          <p:nvPr/>
        </p:nvGrpSpPr>
        <p:grpSpPr>
          <a:xfrm>
            <a:off x="1548472" y="3149644"/>
            <a:ext cx="281027" cy="265723"/>
            <a:chOff x="9687132" y="5337166"/>
            <a:chExt cx="207220" cy="195938"/>
          </a:xfrm>
        </p:grpSpPr>
        <p:sp>
          <p:nvSpPr>
            <p:cNvPr id="434" name="Oval 5">
              <a:extLst>
                <a:ext uri="{FF2B5EF4-FFF2-40B4-BE49-F238E27FC236}">
                  <a16:creationId xmlns:a16="http://schemas.microsoft.com/office/drawing/2014/main" id="{317BE85A-4C4D-4B77-B35D-D8A1265D69B5}"/>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435" name="LightningBolt_E945" title="Icon of a lightning bolt">
              <a:extLst>
                <a:ext uri="{FF2B5EF4-FFF2-40B4-BE49-F238E27FC236}">
                  <a16:creationId xmlns:a16="http://schemas.microsoft.com/office/drawing/2014/main" id="{4E68718D-281C-443A-8EFE-B82E5CEC042F}"/>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29" name="Group 228">
            <a:extLst>
              <a:ext uri="{FF2B5EF4-FFF2-40B4-BE49-F238E27FC236}">
                <a16:creationId xmlns:a16="http://schemas.microsoft.com/office/drawing/2014/main" id="{D26A60F0-B61A-495B-BD1B-E00D9BBE18E3}"/>
              </a:ext>
            </a:extLst>
          </p:cNvPr>
          <p:cNvGrpSpPr/>
          <p:nvPr/>
        </p:nvGrpSpPr>
        <p:grpSpPr>
          <a:xfrm>
            <a:off x="1228625" y="951876"/>
            <a:ext cx="10689203" cy="514238"/>
            <a:chOff x="1313894" y="1164400"/>
            <a:chExt cx="10689355" cy="834311"/>
          </a:xfrm>
        </p:grpSpPr>
        <p:sp>
          <p:nvSpPr>
            <p:cNvPr id="230" name="Rectangle 229">
              <a:extLst>
                <a:ext uri="{FF2B5EF4-FFF2-40B4-BE49-F238E27FC236}">
                  <a16:creationId xmlns:a16="http://schemas.microsoft.com/office/drawing/2014/main" id="{7AB6DCB5-DFA9-406F-BF1C-7396D8E8C0E7}"/>
                </a:ext>
              </a:extLst>
            </p:cNvPr>
            <p:cNvSpPr/>
            <p:nvPr/>
          </p:nvSpPr>
          <p:spPr bwMode="auto">
            <a:xfrm>
              <a:off x="1313894" y="1164400"/>
              <a:ext cx="10689355" cy="493478"/>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1" name="Left Brace 230">
              <a:extLst>
                <a:ext uri="{FF2B5EF4-FFF2-40B4-BE49-F238E27FC236}">
                  <a16:creationId xmlns:a16="http://schemas.microsoft.com/office/drawing/2014/main" id="{746C25D1-A1C0-4704-8D71-91AC201DF85C}"/>
                </a:ext>
              </a:extLst>
            </p:cNvPr>
            <p:cNvSpPr/>
            <p:nvPr/>
          </p:nvSpPr>
          <p:spPr>
            <a:xfrm rot="16200000">
              <a:off x="6473126" y="-3531412"/>
              <a:ext cx="370892" cy="10689354"/>
            </a:xfrm>
            <a:prstGeom prst="leftBrace">
              <a:avLst>
                <a:gd name="adj1" fmla="val 234199"/>
                <a:gd name="adj2" fmla="val 50000"/>
              </a:avLst>
            </a:prstGeom>
            <a:solidFill>
              <a:srgbClr val="0078D4"/>
            </a:solidFill>
            <a:ln w="12700" cap="flat" cmpd="sng" algn="ctr">
              <a:solidFill>
                <a:srgbClr val="0078D4"/>
              </a:solidFill>
              <a:prstDash val="solid"/>
              <a:headEnd type="none" w="lg" len="med"/>
              <a:tailEnd type="none" w="lg" len="med"/>
            </a:ln>
            <a:effectLst/>
          </p:spPr>
          <p:txBody>
            <a:bodyPr rtlCol="0" anchor="ctr"/>
            <a:lstStyle/>
            <a:p>
              <a:pPr algn="ctr" defTabSz="914411">
                <a:defRPr/>
              </a:pPr>
              <a:endParaRPr lang="en-US" kern="0">
                <a:solidFill>
                  <a:srgbClr val="1A1A1A"/>
                </a:solidFill>
                <a:latin typeface="Segoe UI"/>
              </a:endParaRPr>
            </a:p>
          </p:txBody>
        </p:sp>
      </p:grpSp>
      <p:sp>
        <p:nvSpPr>
          <p:cNvPr id="232" name="Rectangle 231">
            <a:extLst>
              <a:ext uri="{FF2B5EF4-FFF2-40B4-BE49-F238E27FC236}">
                <a16:creationId xmlns:a16="http://schemas.microsoft.com/office/drawing/2014/main" id="{7E352289-5DEE-4353-8014-845DD1AAA942}"/>
              </a:ext>
            </a:extLst>
          </p:cNvPr>
          <p:cNvSpPr/>
          <p:nvPr/>
        </p:nvSpPr>
        <p:spPr bwMode="auto">
          <a:xfrm>
            <a:off x="3582387" y="836736"/>
            <a:ext cx="5981679" cy="666835"/>
          </a:xfrm>
          <a:prstGeom prst="rect">
            <a:avLst/>
          </a:prstGeom>
          <a:noFill/>
          <a:ln w="10795" cap="flat" cmpd="sng" algn="ctr">
            <a:noFill/>
            <a:prstDash val="solid"/>
          </a:ln>
          <a:effectLst/>
        </p:spPr>
        <p:txBody>
          <a:bodyPr vert="horz" wrap="square" lIns="179282" tIns="89641" rIns="89641" bIns="89641" numCol="1" rtlCol="0" anchor="ctr" anchorCtr="0" compatLnSpc="1">
            <a:prstTxWarp prst="textNoShape">
              <a:avLst/>
            </a:prstTxWarp>
          </a:bodyPr>
          <a:lstStyle/>
          <a:p>
            <a:pPr algn="ctr" defTabSz="913762" fontAlgn="base">
              <a:spcBef>
                <a:spcPct val="0"/>
              </a:spcBef>
              <a:spcAft>
                <a:spcPct val="0"/>
              </a:spcAft>
              <a:defRPr/>
            </a:pPr>
            <a:r>
              <a:rPr lang="en-US" sz="1600" b="1" kern="0">
                <a:solidFill>
                  <a:srgbClr val="FFFFFF"/>
                </a:solidFill>
                <a:latin typeface="Segoe UI"/>
                <a:cs typeface="Segoe UI" panose="020B0502040204020203" pitchFamily="34" charset="0"/>
              </a:rPr>
              <a:t>   </a:t>
            </a:r>
            <a:r>
              <a:rPr lang="en-US" sz="1600" b="1" kern="0">
                <a:solidFill>
                  <a:srgbClr val="FFFFFF"/>
                </a:solidFill>
                <a:latin typeface="Segoe UI Semibold"/>
                <a:cs typeface="Segoe UI" panose="020B0502040204020203" pitchFamily="34" charset="0"/>
              </a:rPr>
              <a:t>Cloud Infrastructure Architect | Cloud Infrastructure Ops</a:t>
            </a:r>
          </a:p>
        </p:txBody>
      </p:sp>
      <p:sp>
        <p:nvSpPr>
          <p:cNvPr id="234" name="people_4">
            <a:extLst>
              <a:ext uri="{FF2B5EF4-FFF2-40B4-BE49-F238E27FC236}">
                <a16:creationId xmlns:a16="http://schemas.microsoft.com/office/drawing/2014/main" id="{14ABF421-B77D-45A1-A409-7CA36D5BE129}"/>
              </a:ext>
            </a:extLst>
          </p:cNvPr>
          <p:cNvSpPr>
            <a:spLocks noChangeAspect="1" noEditPoints="1"/>
          </p:cNvSpPr>
          <p:nvPr/>
        </p:nvSpPr>
        <p:spPr bwMode="auto">
          <a:xfrm>
            <a:off x="9972408" y="1013724"/>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sp>
        <p:nvSpPr>
          <p:cNvPr id="235" name="Rectangle 234">
            <a:extLst>
              <a:ext uri="{FF2B5EF4-FFF2-40B4-BE49-F238E27FC236}">
                <a16:creationId xmlns:a16="http://schemas.microsoft.com/office/drawing/2014/main" id="{A86F173E-432E-453F-A335-93B3FD7D45A2}"/>
              </a:ext>
            </a:extLst>
          </p:cNvPr>
          <p:cNvSpPr/>
          <p:nvPr/>
        </p:nvSpPr>
        <p:spPr>
          <a:xfrm>
            <a:off x="1110226" y="6443016"/>
            <a:ext cx="10483876" cy="312069"/>
          </a:xfrm>
          <a:prstGeom prst="rect">
            <a:avLst/>
          </a:prstGeom>
        </p:spPr>
        <p:txBody>
          <a:bodyPr wrap="none">
            <a:spAutoFit/>
          </a:bodyPr>
          <a:lstStyle/>
          <a:p>
            <a:pPr algn="ctr" defTabSz="914411">
              <a:defRPr/>
            </a:pPr>
            <a:r>
              <a:rPr lang="en-US" sz="1400" b="1" dirty="0">
                <a:solidFill>
                  <a:schemeClr val="bg1"/>
                </a:solidFill>
                <a:latin typeface="Segoe UI"/>
              </a:rPr>
              <a:t>Learn more about org roles, best practices, and Azure capabilities at the 4/19 briefing: Achieving Resilience in the Cloud</a:t>
            </a:r>
          </a:p>
        </p:txBody>
      </p:sp>
      <p:sp>
        <p:nvSpPr>
          <p:cNvPr id="218" name="Title 3">
            <a:extLst>
              <a:ext uri="{FF2B5EF4-FFF2-40B4-BE49-F238E27FC236}">
                <a16:creationId xmlns:a16="http://schemas.microsoft.com/office/drawing/2014/main" id="{6AED1E1F-B4E4-4B26-8F94-B5E04FBE0029}"/>
              </a:ext>
            </a:extLst>
          </p:cNvPr>
          <p:cNvSpPr txBox="1">
            <a:spLocks/>
          </p:cNvSpPr>
          <p:nvPr/>
        </p:nvSpPr>
        <p:spPr>
          <a:xfrm>
            <a:off x="584278" y="457244"/>
            <a:ext cx="11275398"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754"/>
            <a:r>
              <a:rPr lang="en-US" dirty="0">
                <a:solidFill>
                  <a:schemeClr val="bg1"/>
                </a:solidFill>
                <a:latin typeface="Segoe UI Semibold"/>
              </a:rPr>
              <a:t>Example of resilient architecture options</a:t>
            </a:r>
          </a:p>
        </p:txBody>
      </p:sp>
      <p:sp>
        <p:nvSpPr>
          <p:cNvPr id="219" name="people_4">
            <a:extLst>
              <a:ext uri="{FF2B5EF4-FFF2-40B4-BE49-F238E27FC236}">
                <a16:creationId xmlns:a16="http://schemas.microsoft.com/office/drawing/2014/main" id="{3E888806-3C15-4F64-A411-F5E73D1210BB}"/>
              </a:ext>
            </a:extLst>
          </p:cNvPr>
          <p:cNvSpPr>
            <a:spLocks noChangeAspect="1" noEditPoints="1"/>
          </p:cNvSpPr>
          <p:nvPr/>
        </p:nvSpPr>
        <p:spPr bwMode="auto">
          <a:xfrm>
            <a:off x="3160181" y="1004737"/>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pic>
        <p:nvPicPr>
          <p:cNvPr id="221" name="Picture 2">
            <a:extLst>
              <a:ext uri="{FF2B5EF4-FFF2-40B4-BE49-F238E27FC236}">
                <a16:creationId xmlns:a16="http://schemas.microsoft.com/office/drawing/2014/main" id="{A47BB5AC-7C07-4343-8699-C02892E9C5A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9505304"/>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F0FAB-8DE6-4B74-8F54-4768DF0B0697}"/>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Design Patterns for Resiliency</a:t>
            </a:r>
          </a:p>
        </p:txBody>
      </p:sp>
      <p:graphicFrame>
        <p:nvGraphicFramePr>
          <p:cNvPr id="3" name="Table 2">
            <a:extLst>
              <a:ext uri="{FF2B5EF4-FFF2-40B4-BE49-F238E27FC236}">
                <a16:creationId xmlns:a16="http://schemas.microsoft.com/office/drawing/2014/main" id="{0A04B855-5AAE-4AC0-ABC0-8E9FC3E3916F}"/>
              </a:ext>
            </a:extLst>
          </p:cNvPr>
          <p:cNvGraphicFramePr>
            <a:graphicFrameLocks noGrp="1"/>
          </p:cNvGraphicFramePr>
          <p:nvPr>
            <p:extLst>
              <p:ext uri="{D42A27DB-BD31-4B8C-83A1-F6EECF244321}">
                <p14:modId xmlns:p14="http://schemas.microsoft.com/office/powerpoint/2010/main" val="2608384453"/>
              </p:ext>
            </p:extLst>
          </p:nvPr>
        </p:nvGraphicFramePr>
        <p:xfrm>
          <a:off x="897949" y="1392703"/>
          <a:ext cx="10396101" cy="5312894"/>
        </p:xfrm>
        <a:graphic>
          <a:graphicData uri="http://schemas.openxmlformats.org/drawingml/2006/table">
            <a:tbl>
              <a:tblPr firstCol="1">
                <a:tableStyleId>{5C22544A-7EE6-4342-B048-85BDC9FD1C3A}</a:tableStyleId>
              </a:tblPr>
              <a:tblGrid>
                <a:gridCol w="2955933">
                  <a:extLst>
                    <a:ext uri="{9D8B030D-6E8A-4147-A177-3AD203B41FA5}">
                      <a16:colId xmlns:a16="http://schemas.microsoft.com/office/drawing/2014/main" val="27496129"/>
                    </a:ext>
                  </a:extLst>
                </a:gridCol>
                <a:gridCol w="7440168">
                  <a:extLst>
                    <a:ext uri="{9D8B030D-6E8A-4147-A177-3AD203B41FA5}">
                      <a16:colId xmlns:a16="http://schemas.microsoft.com/office/drawing/2014/main" val="2996788171"/>
                    </a:ext>
                  </a:extLst>
                </a:gridCol>
              </a:tblGrid>
              <a:tr h="428091">
                <a:tc>
                  <a:txBody>
                    <a:bodyPr/>
                    <a:lstStyle/>
                    <a:p>
                      <a:pPr algn="l" fontAlgn="t"/>
                      <a:r>
                        <a:rPr lang="en-IN" sz="1300" cap="none" spc="0">
                          <a:solidFill>
                            <a:schemeClr val="bg1"/>
                          </a:solidFill>
                          <a:effectLst/>
                        </a:rPr>
                        <a:t>Pattern</a:t>
                      </a:r>
                    </a:p>
                  </a:txBody>
                  <a:tcPr marL="47695" marR="47695" marT="11291" marB="95389"/>
                </a:tc>
                <a:tc>
                  <a:txBody>
                    <a:bodyPr/>
                    <a:lstStyle/>
                    <a:p>
                      <a:pPr algn="l" fontAlgn="t"/>
                      <a:r>
                        <a:rPr lang="en-IN" sz="1300" cap="none" spc="0">
                          <a:solidFill>
                            <a:schemeClr val="tx1"/>
                          </a:solidFill>
                          <a:effectLst/>
                        </a:rPr>
                        <a:t>Summary</a:t>
                      </a:r>
                    </a:p>
                  </a:txBody>
                  <a:tcPr marL="47695" marR="47695" marT="11291" marB="95389"/>
                </a:tc>
                <a:extLst>
                  <a:ext uri="{0D108BD9-81ED-4DB2-BD59-A6C34878D82A}">
                    <a16:rowId xmlns:a16="http://schemas.microsoft.com/office/drawing/2014/main" val="3478484755"/>
                  </a:ext>
                </a:extLst>
              </a:tr>
              <a:tr h="428091">
                <a:tc>
                  <a:txBody>
                    <a:bodyPr/>
                    <a:lstStyle/>
                    <a:p>
                      <a:pPr algn="l" fontAlgn="t"/>
                      <a:r>
                        <a:rPr lang="en-IN" sz="1300" u="none" strike="noStrike" cap="none" spc="0">
                          <a:solidFill>
                            <a:schemeClr val="bg1"/>
                          </a:solidFill>
                          <a:effectLst/>
                          <a:hlinkClick r:id="rId3">
                            <a:extLst>
                              <a:ext uri="{A12FA001-AC4F-418D-AE19-62706E023703}">
                                <ahyp:hlinkClr xmlns:ahyp="http://schemas.microsoft.com/office/drawing/2018/hyperlinkcolor" val="tx"/>
                              </a:ext>
                            </a:extLst>
                          </a:hlinkClick>
                        </a:rPr>
                        <a:t>Bulkhead</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Isolate elements of an application into pools so that if one fails, the others will continue to function.</a:t>
                      </a:r>
                    </a:p>
                  </a:txBody>
                  <a:tcPr marL="47695" marR="47695" marT="11291" marB="95389"/>
                </a:tc>
                <a:extLst>
                  <a:ext uri="{0D108BD9-81ED-4DB2-BD59-A6C34878D82A}">
                    <a16:rowId xmlns:a16="http://schemas.microsoft.com/office/drawing/2014/main" val="2753780353"/>
                  </a:ext>
                </a:extLst>
              </a:tr>
              <a:tr h="671437">
                <a:tc>
                  <a:txBody>
                    <a:bodyPr/>
                    <a:lstStyle/>
                    <a:p>
                      <a:pPr algn="l" fontAlgn="t"/>
                      <a:r>
                        <a:rPr lang="en-IN" sz="1300" u="none" strike="noStrike" cap="none" spc="0">
                          <a:solidFill>
                            <a:schemeClr val="bg1"/>
                          </a:solidFill>
                          <a:effectLst/>
                          <a:hlinkClick r:id="rId4">
                            <a:extLst>
                              <a:ext uri="{A12FA001-AC4F-418D-AE19-62706E023703}">
                                <ahyp:hlinkClr xmlns:ahyp="http://schemas.microsoft.com/office/drawing/2018/hyperlinkcolor" val="tx"/>
                              </a:ext>
                            </a:extLst>
                          </a:hlinkClick>
                        </a:rPr>
                        <a:t>Circuit Breaker</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Handle faults that might take a variable amount of time to fix when connecting to a remote service or resource.</a:t>
                      </a:r>
                    </a:p>
                  </a:txBody>
                  <a:tcPr marL="47695" marR="47695" marT="11291" marB="95389"/>
                </a:tc>
                <a:extLst>
                  <a:ext uri="{0D108BD9-81ED-4DB2-BD59-A6C34878D82A}">
                    <a16:rowId xmlns:a16="http://schemas.microsoft.com/office/drawing/2014/main" val="342208060"/>
                  </a:ext>
                </a:extLst>
              </a:tr>
              <a:tr h="428091">
                <a:tc>
                  <a:txBody>
                    <a:bodyPr/>
                    <a:lstStyle/>
                    <a:p>
                      <a:pPr algn="l" fontAlgn="t"/>
                      <a:r>
                        <a:rPr lang="en-IN" sz="1300" u="none" strike="noStrike" cap="none" spc="0">
                          <a:solidFill>
                            <a:schemeClr val="bg1"/>
                          </a:solidFill>
                          <a:effectLst/>
                          <a:hlinkClick r:id="rId5">
                            <a:extLst>
                              <a:ext uri="{A12FA001-AC4F-418D-AE19-62706E023703}">
                                <ahyp:hlinkClr xmlns:ahyp="http://schemas.microsoft.com/office/drawing/2018/hyperlinkcolor" val="tx"/>
                              </a:ext>
                            </a:extLst>
                          </a:hlinkClick>
                        </a:rPr>
                        <a:t>Compensating Transaction</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Undo the work performed by a series of steps, which together define an eventually consistent operation.</a:t>
                      </a:r>
                    </a:p>
                  </a:txBody>
                  <a:tcPr marL="47695" marR="47695" marT="11291" marB="95389"/>
                </a:tc>
                <a:extLst>
                  <a:ext uri="{0D108BD9-81ED-4DB2-BD59-A6C34878D82A}">
                    <a16:rowId xmlns:a16="http://schemas.microsoft.com/office/drawing/2014/main" val="1652337136"/>
                  </a:ext>
                </a:extLst>
              </a:tr>
              <a:tr h="671437">
                <a:tc>
                  <a:txBody>
                    <a:bodyPr/>
                    <a:lstStyle/>
                    <a:p>
                      <a:pPr algn="l" fontAlgn="t"/>
                      <a:r>
                        <a:rPr lang="en-IN" sz="1300" u="none" strike="noStrike" cap="none" spc="0">
                          <a:solidFill>
                            <a:schemeClr val="bg1"/>
                          </a:solidFill>
                          <a:effectLst/>
                          <a:hlinkClick r:id="rId6">
                            <a:extLst>
                              <a:ext uri="{A12FA001-AC4F-418D-AE19-62706E023703}">
                                <ahyp:hlinkClr xmlns:ahyp="http://schemas.microsoft.com/office/drawing/2018/hyperlinkcolor" val="tx"/>
                              </a:ext>
                            </a:extLst>
                          </a:hlinkClick>
                        </a:rPr>
                        <a:t>Health Endpoint Monitoring</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Implement functional checks in an application that external tools can access through exposed endpoints at regular intervals.</a:t>
                      </a:r>
                    </a:p>
                  </a:txBody>
                  <a:tcPr marL="47695" marR="47695" marT="11291" marB="95389"/>
                </a:tc>
                <a:extLst>
                  <a:ext uri="{0D108BD9-81ED-4DB2-BD59-A6C34878D82A}">
                    <a16:rowId xmlns:a16="http://schemas.microsoft.com/office/drawing/2014/main" val="1011888897"/>
                  </a:ext>
                </a:extLst>
              </a:tr>
              <a:tr h="914782">
                <a:tc>
                  <a:txBody>
                    <a:bodyPr/>
                    <a:lstStyle/>
                    <a:p>
                      <a:pPr algn="l" fontAlgn="t"/>
                      <a:r>
                        <a:rPr lang="en-IN" sz="1300" u="none" strike="noStrike" cap="none" spc="0">
                          <a:solidFill>
                            <a:schemeClr val="bg1"/>
                          </a:solidFill>
                          <a:effectLst/>
                          <a:hlinkClick r:id="rId7">
                            <a:extLst>
                              <a:ext uri="{A12FA001-AC4F-418D-AE19-62706E023703}">
                                <ahyp:hlinkClr xmlns:ahyp="http://schemas.microsoft.com/office/drawing/2018/hyperlinkcolor" val="tx"/>
                              </a:ext>
                            </a:extLst>
                          </a:hlinkClick>
                        </a:rPr>
                        <a:t>Leader Election</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Coordinate the actions performed by a collection of collaborating task instances in a distributed application by electing one instance as the leader that assumes responsibility for managing the other instances.</a:t>
                      </a:r>
                    </a:p>
                  </a:txBody>
                  <a:tcPr marL="47695" marR="47695" marT="11291" marB="95389"/>
                </a:tc>
                <a:extLst>
                  <a:ext uri="{0D108BD9-81ED-4DB2-BD59-A6C34878D82A}">
                    <a16:rowId xmlns:a16="http://schemas.microsoft.com/office/drawing/2014/main" val="3435916028"/>
                  </a:ext>
                </a:extLst>
              </a:tr>
              <a:tr h="671437">
                <a:tc>
                  <a:txBody>
                    <a:bodyPr/>
                    <a:lstStyle/>
                    <a:p>
                      <a:pPr algn="l" fontAlgn="t"/>
                      <a:r>
                        <a:rPr lang="en-IN" sz="1300" u="none" strike="noStrike" cap="none" spc="0">
                          <a:solidFill>
                            <a:schemeClr val="bg1"/>
                          </a:solidFill>
                          <a:effectLst/>
                          <a:hlinkClick r:id="rId8">
                            <a:extLst>
                              <a:ext uri="{A12FA001-AC4F-418D-AE19-62706E023703}">
                                <ahyp:hlinkClr xmlns:ahyp="http://schemas.microsoft.com/office/drawing/2018/hyperlinkcolor" val="tx"/>
                              </a:ext>
                            </a:extLst>
                          </a:hlinkClick>
                        </a:rPr>
                        <a:t>Queue-Based Load Leveling</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Use a queue that acts as a buffer between a task and a service that it invokes in order to smooth intermittent heavy loads.</a:t>
                      </a:r>
                    </a:p>
                  </a:txBody>
                  <a:tcPr marL="47695" marR="47695" marT="11291" marB="95389"/>
                </a:tc>
                <a:extLst>
                  <a:ext uri="{0D108BD9-81ED-4DB2-BD59-A6C34878D82A}">
                    <a16:rowId xmlns:a16="http://schemas.microsoft.com/office/drawing/2014/main" val="1079360857"/>
                  </a:ext>
                </a:extLst>
              </a:tr>
              <a:tr h="671437">
                <a:tc>
                  <a:txBody>
                    <a:bodyPr/>
                    <a:lstStyle/>
                    <a:p>
                      <a:pPr algn="l" fontAlgn="t"/>
                      <a:r>
                        <a:rPr lang="en-IN" sz="1300" u="none" strike="noStrike" cap="none" spc="0">
                          <a:solidFill>
                            <a:schemeClr val="bg1"/>
                          </a:solidFill>
                          <a:effectLst/>
                          <a:hlinkClick r:id="rId9">
                            <a:extLst>
                              <a:ext uri="{A12FA001-AC4F-418D-AE19-62706E023703}">
                                <ahyp:hlinkClr xmlns:ahyp="http://schemas.microsoft.com/office/drawing/2018/hyperlinkcolor" val="tx"/>
                              </a:ext>
                            </a:extLst>
                          </a:hlinkClick>
                        </a:rPr>
                        <a:t>Retry</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Enable an application to handle anticipated, temporary failures when it tries to connect to a service or network resource by transparently retrying an operation that's previously failed.</a:t>
                      </a:r>
                    </a:p>
                  </a:txBody>
                  <a:tcPr marL="47695" marR="47695" marT="11291" marB="95389"/>
                </a:tc>
                <a:extLst>
                  <a:ext uri="{0D108BD9-81ED-4DB2-BD59-A6C34878D82A}">
                    <a16:rowId xmlns:a16="http://schemas.microsoft.com/office/drawing/2014/main" val="2545784880"/>
                  </a:ext>
                </a:extLst>
              </a:tr>
              <a:tr h="428091">
                <a:tc>
                  <a:txBody>
                    <a:bodyPr/>
                    <a:lstStyle/>
                    <a:p>
                      <a:pPr algn="l" fontAlgn="t"/>
                      <a:r>
                        <a:rPr lang="en-IN" sz="1300" u="none" strike="noStrike" cap="none" spc="0" dirty="0">
                          <a:solidFill>
                            <a:schemeClr val="bg1"/>
                          </a:solidFill>
                          <a:effectLst/>
                          <a:hlinkClick r:id="rId10">
                            <a:extLst>
                              <a:ext uri="{A12FA001-AC4F-418D-AE19-62706E023703}">
                                <ahyp:hlinkClr xmlns:ahyp="http://schemas.microsoft.com/office/drawing/2018/hyperlinkcolor" val="tx"/>
                              </a:ext>
                            </a:extLst>
                          </a:hlinkClick>
                        </a:rPr>
                        <a:t>Scheduler Agent Supervisor</a:t>
                      </a:r>
                      <a:endParaRPr lang="en-IN" sz="1300" cap="none" spc="0" dirty="0">
                        <a:solidFill>
                          <a:schemeClr val="bg1"/>
                        </a:solidFill>
                        <a:effectLst/>
                      </a:endParaRPr>
                    </a:p>
                  </a:txBody>
                  <a:tcPr marL="47695" marR="47695" marT="11291" marB="95389"/>
                </a:tc>
                <a:tc>
                  <a:txBody>
                    <a:bodyPr/>
                    <a:lstStyle/>
                    <a:p>
                      <a:pPr algn="l" fontAlgn="t"/>
                      <a:r>
                        <a:rPr lang="en-IN" sz="1300" cap="none" spc="0" dirty="0">
                          <a:solidFill>
                            <a:schemeClr val="tx1"/>
                          </a:solidFill>
                          <a:effectLst/>
                        </a:rPr>
                        <a:t>Coordinate a set of actions across a distributed set of services and other remote resources.</a:t>
                      </a:r>
                    </a:p>
                  </a:txBody>
                  <a:tcPr marL="47695" marR="47695" marT="11291" marB="95389"/>
                </a:tc>
                <a:extLst>
                  <a:ext uri="{0D108BD9-81ED-4DB2-BD59-A6C34878D82A}">
                    <a16:rowId xmlns:a16="http://schemas.microsoft.com/office/drawing/2014/main" val="19019473"/>
                  </a:ext>
                </a:extLst>
              </a:tr>
            </a:tbl>
          </a:graphicData>
        </a:graphic>
      </p:graphicFrame>
    </p:spTree>
    <p:extLst>
      <p:ext uri="{BB962C8B-B14F-4D97-AF65-F5344CB8AC3E}">
        <p14:creationId xmlns:p14="http://schemas.microsoft.com/office/powerpoint/2010/main" val="2727820252"/>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try pattern</a:t>
            </a:r>
          </a:p>
        </p:txBody>
      </p:sp>
      <p:sp>
        <p:nvSpPr>
          <p:cNvPr id="3" name="Text Placeholder 2"/>
          <p:cNvSpPr>
            <a:spLocks noGrp="1"/>
          </p:cNvSpPr>
          <p:nvPr>
            <p:ph idx="1"/>
          </p:nvPr>
        </p:nvSpPr>
        <p:spPr>
          <a:xfrm>
            <a:off x="838200" y="1825625"/>
            <a:ext cx="4519613" cy="4351338"/>
          </a:xfrm>
        </p:spPr>
        <p:txBody>
          <a:bodyPr>
            <a:normAutofit/>
          </a:bodyPr>
          <a:lstStyle/>
          <a:p>
            <a:r>
              <a:rPr lang="en-US" sz="2400"/>
              <a:t>Handle anticipated temporary failures </a:t>
            </a:r>
          </a:p>
          <a:p>
            <a:endParaRPr lang="en-US" sz="2400"/>
          </a:p>
          <a:p>
            <a:r>
              <a:rPr lang="en-US" sz="2400"/>
              <a:t>PROBLEM: transient errors – remote or shared resources</a:t>
            </a:r>
          </a:p>
          <a:p>
            <a:r>
              <a:rPr lang="en-US" sz="2400"/>
              <a:t>SOLUTION: retry with the assumption that the transient fault will disappear</a:t>
            </a:r>
          </a:p>
          <a:p>
            <a:endParaRPr lang="en-US" sz="2400"/>
          </a:p>
        </p:txBody>
      </p:sp>
      <p:pic>
        <p:nvPicPr>
          <p:cNvPr id="5" name="Picture 4"/>
          <p:cNvPicPr>
            <a:picLocks noChangeAspect="1"/>
          </p:cNvPicPr>
          <p:nvPr/>
        </p:nvPicPr>
        <p:blipFill>
          <a:blip r:embed="rId2"/>
          <a:stretch>
            <a:fillRect/>
          </a:stretch>
        </p:blipFill>
        <p:spPr>
          <a:xfrm>
            <a:off x="5636029" y="2013463"/>
            <a:ext cx="6372027" cy="3689068"/>
          </a:xfrm>
          <a:prstGeom prst="rect">
            <a:avLst/>
          </a:prstGeom>
        </p:spPr>
      </p:pic>
    </p:spTree>
    <p:extLst>
      <p:ext uri="{BB962C8B-B14F-4D97-AF65-F5344CB8AC3E}">
        <p14:creationId xmlns:p14="http://schemas.microsoft.com/office/powerpoint/2010/main" val="10786016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ircuit breaker</a:t>
            </a:r>
          </a:p>
        </p:txBody>
      </p:sp>
      <p:sp>
        <p:nvSpPr>
          <p:cNvPr id="3" name="Text Placeholder 2"/>
          <p:cNvSpPr>
            <a:spLocks noGrp="1"/>
          </p:cNvSpPr>
          <p:nvPr>
            <p:ph idx="1"/>
          </p:nvPr>
        </p:nvSpPr>
        <p:spPr>
          <a:xfrm>
            <a:off x="838200" y="1825625"/>
            <a:ext cx="4969669" cy="4351338"/>
          </a:xfrm>
        </p:spPr>
        <p:txBody>
          <a:bodyPr>
            <a:noAutofit/>
          </a:bodyPr>
          <a:lstStyle/>
          <a:p>
            <a:r>
              <a:rPr lang="en-US" sz="2000"/>
              <a:t>Handle faults that may take a variable amount of time to rectify, and which don’t seem to be transient</a:t>
            </a:r>
          </a:p>
          <a:p>
            <a:endParaRPr lang="en-US" sz="2000"/>
          </a:p>
          <a:p>
            <a:r>
              <a:rPr lang="en-US" sz="2000"/>
              <a:t>PROBLEM: operations that access remote or shared resources might fail due to transient faults</a:t>
            </a:r>
          </a:p>
          <a:p>
            <a:r>
              <a:rPr lang="en-US" sz="2000"/>
              <a:t>SOLUTION: continue execution without waiting for the fault to be rectified. Also detect if the fault has been resolved.</a:t>
            </a:r>
          </a:p>
          <a:p>
            <a:endParaRPr lang="en-US" sz="2000"/>
          </a:p>
        </p:txBody>
      </p:sp>
      <p:pic>
        <p:nvPicPr>
          <p:cNvPr id="4" name="Picture 3"/>
          <p:cNvPicPr>
            <a:picLocks noChangeAspect="1"/>
          </p:cNvPicPr>
          <p:nvPr/>
        </p:nvPicPr>
        <p:blipFill>
          <a:blip r:embed="rId2"/>
          <a:stretch>
            <a:fillRect/>
          </a:stretch>
        </p:blipFill>
        <p:spPr>
          <a:xfrm>
            <a:off x="5982293" y="1230889"/>
            <a:ext cx="6010688" cy="5086784"/>
          </a:xfrm>
          <a:prstGeom prst="rect">
            <a:avLst/>
          </a:prstGeom>
        </p:spPr>
      </p:pic>
    </p:spTree>
    <p:extLst>
      <p:ext uri="{BB962C8B-B14F-4D97-AF65-F5344CB8AC3E}">
        <p14:creationId xmlns:p14="http://schemas.microsoft.com/office/powerpoint/2010/main" val="27626251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eting consumers / Queue-based load leveling</a:t>
            </a:r>
          </a:p>
        </p:txBody>
      </p:sp>
      <p:sp>
        <p:nvSpPr>
          <p:cNvPr id="3" name="Text Placeholder 2"/>
          <p:cNvSpPr>
            <a:spLocks noGrp="1"/>
          </p:cNvSpPr>
          <p:nvPr>
            <p:ph idx="1"/>
          </p:nvPr>
        </p:nvSpPr>
        <p:spPr/>
        <p:txBody>
          <a:bodyPr>
            <a:normAutofit/>
          </a:bodyPr>
          <a:lstStyle/>
          <a:p>
            <a:r>
              <a:rPr lang="en-US"/>
              <a:t>Multiple concurrent consumers process messages</a:t>
            </a:r>
          </a:p>
          <a:p>
            <a:r>
              <a:rPr lang="en-US"/>
              <a:t>Publisher / subscriber</a:t>
            </a:r>
          </a:p>
          <a:p>
            <a:r>
              <a:rPr lang="en-US"/>
              <a:t>Scale components independently</a:t>
            </a:r>
          </a:p>
          <a:p>
            <a:r>
              <a:rPr lang="en-US"/>
              <a:t>E.g.: Online Shop</a:t>
            </a:r>
          </a:p>
        </p:txBody>
      </p:sp>
      <p:pic>
        <p:nvPicPr>
          <p:cNvPr id="5" name="Picture 4"/>
          <p:cNvPicPr>
            <a:picLocks noChangeAspect="1"/>
          </p:cNvPicPr>
          <p:nvPr/>
        </p:nvPicPr>
        <p:blipFill>
          <a:blip r:embed="rId2"/>
          <a:stretch>
            <a:fillRect/>
          </a:stretch>
        </p:blipFill>
        <p:spPr>
          <a:xfrm>
            <a:off x="4875500" y="3564600"/>
            <a:ext cx="7096125" cy="2886075"/>
          </a:xfrm>
          <a:prstGeom prst="rect">
            <a:avLst/>
          </a:prstGeom>
        </p:spPr>
      </p:pic>
    </p:spTree>
    <p:extLst>
      <p:ext uri="{BB962C8B-B14F-4D97-AF65-F5344CB8AC3E}">
        <p14:creationId xmlns:p14="http://schemas.microsoft.com/office/powerpoint/2010/main" val="41622626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iority Queue</a:t>
            </a:r>
          </a:p>
        </p:txBody>
      </p:sp>
      <p:sp>
        <p:nvSpPr>
          <p:cNvPr id="3" name="Text Placeholder 2"/>
          <p:cNvSpPr>
            <a:spLocks noGrp="1"/>
          </p:cNvSpPr>
          <p:nvPr>
            <p:ph idx="1"/>
          </p:nvPr>
        </p:nvSpPr>
        <p:spPr>
          <a:xfrm>
            <a:off x="838200" y="1825625"/>
            <a:ext cx="4519613" cy="4351338"/>
          </a:xfrm>
        </p:spPr>
        <p:txBody>
          <a:bodyPr>
            <a:normAutofit/>
          </a:bodyPr>
          <a:lstStyle/>
          <a:p>
            <a:r>
              <a:rPr lang="en-US" sz="2400"/>
              <a:t>Multiple concurrent consumers process messages</a:t>
            </a:r>
          </a:p>
          <a:p>
            <a:r>
              <a:rPr lang="en-US" sz="2400"/>
              <a:t>Publisher / subscriber</a:t>
            </a:r>
          </a:p>
          <a:p>
            <a:r>
              <a:rPr lang="en-US" sz="2400"/>
              <a:t>BUT multi-tenant solution with different service levels</a:t>
            </a:r>
          </a:p>
        </p:txBody>
      </p:sp>
      <p:pic>
        <p:nvPicPr>
          <p:cNvPr id="4" name="Picture 3"/>
          <p:cNvPicPr>
            <a:picLocks noChangeAspect="1"/>
          </p:cNvPicPr>
          <p:nvPr/>
        </p:nvPicPr>
        <p:blipFill>
          <a:blip r:embed="rId2"/>
          <a:stretch>
            <a:fillRect/>
          </a:stretch>
        </p:blipFill>
        <p:spPr>
          <a:xfrm>
            <a:off x="5744515" y="1409599"/>
            <a:ext cx="6282291" cy="5041076"/>
          </a:xfrm>
          <a:prstGeom prst="rect">
            <a:avLst/>
          </a:prstGeom>
        </p:spPr>
      </p:pic>
    </p:spTree>
    <p:extLst>
      <p:ext uri="{BB962C8B-B14F-4D97-AF65-F5344CB8AC3E}">
        <p14:creationId xmlns:p14="http://schemas.microsoft.com/office/powerpoint/2010/main" val="13877497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rottling </a:t>
            </a:r>
          </a:p>
        </p:txBody>
      </p:sp>
      <p:sp>
        <p:nvSpPr>
          <p:cNvPr id="3" name="Text Placeholder 2"/>
          <p:cNvSpPr>
            <a:spLocks noGrp="1"/>
          </p:cNvSpPr>
          <p:nvPr>
            <p:ph idx="1"/>
          </p:nvPr>
        </p:nvSpPr>
        <p:spPr>
          <a:xfrm>
            <a:off x="838200" y="1825625"/>
            <a:ext cx="4355306" cy="4351338"/>
          </a:xfrm>
        </p:spPr>
        <p:txBody>
          <a:bodyPr>
            <a:normAutofit/>
          </a:bodyPr>
          <a:lstStyle/>
          <a:p>
            <a:r>
              <a:rPr lang="en-US" sz="2400" dirty="0"/>
              <a:t>Control resources’ consumption</a:t>
            </a:r>
          </a:p>
          <a:p>
            <a:endParaRPr lang="en-US" sz="2400" dirty="0"/>
          </a:p>
          <a:p>
            <a:r>
              <a:rPr lang="en-US" sz="2400" dirty="0"/>
              <a:t>Still meet SLA but limit functionalities when facing a huge demand</a:t>
            </a:r>
          </a:p>
          <a:p>
            <a:endParaRPr lang="en-US" sz="2400" dirty="0"/>
          </a:p>
          <a:p>
            <a:r>
              <a:rPr lang="en-US" sz="2400" dirty="0"/>
              <a:t>An alternative to Autoscaling</a:t>
            </a:r>
          </a:p>
        </p:txBody>
      </p:sp>
      <p:pic>
        <p:nvPicPr>
          <p:cNvPr id="6" name="Picture 5"/>
          <p:cNvPicPr>
            <a:picLocks noChangeAspect="1"/>
          </p:cNvPicPr>
          <p:nvPr/>
        </p:nvPicPr>
        <p:blipFill>
          <a:blip r:embed="rId2"/>
          <a:stretch>
            <a:fillRect/>
          </a:stretch>
        </p:blipFill>
        <p:spPr>
          <a:xfrm>
            <a:off x="5444094" y="1830584"/>
            <a:ext cx="6686550" cy="4162425"/>
          </a:xfrm>
          <a:prstGeom prst="rect">
            <a:avLst/>
          </a:prstGeom>
        </p:spPr>
      </p:pic>
    </p:spTree>
    <p:extLst>
      <p:ext uri="{BB962C8B-B14F-4D97-AF65-F5344CB8AC3E}">
        <p14:creationId xmlns:p14="http://schemas.microsoft.com/office/powerpoint/2010/main" val="28775329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pPr algn="l"/>
            <a:r>
              <a:rPr lang="en-US" b="1" i="0">
                <a:effectLst/>
                <a:latin typeface="Segoe UI" panose="020B0502040204020203" pitchFamily="34" charset="0"/>
              </a:rPr>
              <a:t>Develop a disaster recovery strategy</a:t>
            </a:r>
          </a:p>
        </p:txBody>
      </p:sp>
      <p:sp>
        <p:nvSpPr>
          <p:cNvPr id="7" name="Rectangle 6">
            <a:extLst>
              <a:ext uri="{FF2B5EF4-FFF2-40B4-BE49-F238E27FC236}">
                <a16:creationId xmlns:a16="http://schemas.microsoft.com/office/drawing/2014/main" id="{0BCB6FB3-252C-474C-9A8E-A8C942D093A7}"/>
              </a:ext>
            </a:extLst>
          </p:cNvPr>
          <p:cNvSpPr/>
          <p:nvPr/>
        </p:nvSpPr>
        <p:spPr>
          <a:xfrm>
            <a:off x="631658" y="1349554"/>
            <a:ext cx="9987852" cy="529375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latin typeface="Segoe UI"/>
              </a:rPr>
              <a:t>Create a disaster recovery plan</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	Risk assessment and process inventory</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000" dirty="0">
                <a:latin typeface="Segoe UI"/>
              </a:rPr>
              <a:t>	Recovery objectives (RPO, RTO)</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	Detailing recovery steps</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dirty="0">
                <a:latin typeface="Segoe UI"/>
              </a:rPr>
              <a:t>		Backups, replicas, deployments, configuration, etc.</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Designing for disaster recovery</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000" dirty="0">
                <a:latin typeface="Segoe UI"/>
              </a:rPr>
              <a:t>	Data recovery design (backups, restore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	Process recovery design (services, deployments)</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latin typeface="Segoe UI"/>
              </a:rPr>
              <a:t>Replication</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Azure Site Recovery</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latin typeface="Segoe UI"/>
              </a:rPr>
              <a:t>Azure Backup</a:t>
            </a:r>
            <a:endParaRPr kumimoji="0" lang="en-US" sz="2400" b="0" i="0" u="none" strike="noStrike" kern="1200" cap="none" spc="0" normalizeH="0" baseline="0" noProof="0" dirty="0">
              <a:ln>
                <a:noFill/>
              </a:ln>
              <a:effectLst/>
              <a:uLnTx/>
              <a:uFillTx/>
              <a:latin typeface="Segoe UI"/>
            </a:endParaRPr>
          </a:p>
        </p:txBody>
      </p:sp>
      <p:pic>
        <p:nvPicPr>
          <p:cNvPr id="23554" name="Picture 2" descr="An illustration showing the duration, in hours, of the recovery point objective and recovery time objective from the time of the disaster.">
            <a:extLst>
              <a:ext uri="{FF2B5EF4-FFF2-40B4-BE49-F238E27FC236}">
                <a16:creationId xmlns:a16="http://schemas.microsoft.com/office/drawing/2014/main" id="{9635572B-7F69-4391-80AD-24302F69D5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75550" y="2042051"/>
            <a:ext cx="4286250" cy="876300"/>
          </a:xfrm>
          <a:prstGeom prst="rect">
            <a:avLst/>
          </a:prstGeom>
          <a:noFill/>
          <a:extLst>
            <a:ext uri="{909E8E84-426E-40DD-AFC4-6F175D3DCCD1}">
              <a14:hiddenFill xmlns:a14="http://schemas.microsoft.com/office/drawing/2010/main">
                <a:solidFill>
                  <a:srgbClr val="FFFFFF"/>
                </a:solidFill>
              </a14:hiddenFill>
            </a:ext>
          </a:extLst>
        </p:spPr>
      </p:pic>
      <p:pic>
        <p:nvPicPr>
          <p:cNvPr id="24578" name="Picture 2" descr="An illustration showing an example of geographical replication. The primary writable database is placed at South Central US, whereas the readable secondary databases are placed at two different locations: West US and East US.">
            <a:extLst>
              <a:ext uri="{FF2B5EF4-FFF2-40B4-BE49-F238E27FC236}">
                <a16:creationId xmlns:a16="http://schemas.microsoft.com/office/drawing/2014/main" id="{D6CBB911-9D85-4F00-A6C8-E425681A00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1829" y="3880323"/>
            <a:ext cx="3724701" cy="1954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9397168"/>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FC56B5-4958-405A-B45D-B71064F417B3}"/>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Agenda</a:t>
            </a:r>
          </a:p>
        </p:txBody>
      </p:sp>
      <p:graphicFrame>
        <p:nvGraphicFramePr>
          <p:cNvPr id="4" name="Content Placeholder 3">
            <a:extLst>
              <a:ext uri="{FF2B5EF4-FFF2-40B4-BE49-F238E27FC236}">
                <a16:creationId xmlns:a16="http://schemas.microsoft.com/office/drawing/2014/main" id="{AFC3C217-596D-4BC0-BD8E-C7D82856DD4B}"/>
              </a:ext>
            </a:extLst>
          </p:cNvPr>
          <p:cNvGraphicFramePr>
            <a:graphicFrameLocks noGrp="1"/>
          </p:cNvGraphicFramePr>
          <p:nvPr>
            <p:ph idx="1"/>
            <p:extLst>
              <p:ext uri="{D42A27DB-BD31-4B8C-83A1-F6EECF244321}">
                <p14:modId xmlns:p14="http://schemas.microsoft.com/office/powerpoint/2010/main" val="143314796"/>
              </p:ext>
            </p:extLst>
          </p:nvPr>
        </p:nvGraphicFramePr>
        <p:xfrm>
          <a:off x="609600" y="1048870"/>
          <a:ext cx="11176000" cy="55603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40551373"/>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noFill/>
        </p:spPr>
        <p:txBody>
          <a:bodyPr/>
          <a:lstStyle/>
          <a:p>
            <a:r>
              <a:rPr lang="en-US" sz="4000" dirty="0">
                <a:solidFill>
                  <a:srgbClr val="0078D4"/>
                </a:solidFill>
                <a:latin typeface="Segoe UI Semibold" panose="020B0702040204020203" pitchFamily="34" charset="0"/>
                <a:cs typeface="Segoe UI Semibold" panose="020B0702040204020203" pitchFamily="34" charset="0"/>
              </a:rPr>
              <a:t>Reliability in performance and scaling</a:t>
            </a:r>
          </a:p>
        </p:txBody>
      </p:sp>
      <p:pic>
        <p:nvPicPr>
          <p:cNvPr id="3" name="Graphic 2">
            <a:extLst>
              <a:ext uri="{FF2B5EF4-FFF2-40B4-BE49-F238E27FC236}">
                <a16:creationId xmlns:a16="http://schemas.microsoft.com/office/drawing/2014/main" id="{06ADB149-29F2-6745-B19F-61AD74D6B8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66199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i="0" dirty="0">
                <a:solidFill>
                  <a:schemeClr val="bg2"/>
                </a:solidFill>
                <a:effectLst/>
                <a:latin typeface="Segoe UI" panose="020B0502040204020203" pitchFamily="34" charset="0"/>
              </a:rPr>
              <a:t>Scaling</a:t>
            </a:r>
            <a:endParaRPr lang="en-US" dirty="0">
              <a:solidFill>
                <a:schemeClr val="bg2"/>
              </a:solidFill>
            </a:endParaRPr>
          </a:p>
        </p:txBody>
      </p:sp>
      <p:sp>
        <p:nvSpPr>
          <p:cNvPr id="6" name="Rectangle 5">
            <a:extLst>
              <a:ext uri="{FF2B5EF4-FFF2-40B4-BE49-F238E27FC236}">
                <a16:creationId xmlns:a16="http://schemas.microsoft.com/office/drawing/2014/main" id="{FE02719F-E737-4A30-9B59-872F813F10C0}"/>
              </a:ext>
            </a:extLst>
          </p:cNvPr>
          <p:cNvSpPr/>
          <p:nvPr/>
        </p:nvSpPr>
        <p:spPr>
          <a:xfrm>
            <a:off x="631658" y="1275916"/>
            <a:ext cx="5769142" cy="400109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Scale up-down</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Scale out-in</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000" dirty="0">
                <a:solidFill>
                  <a:srgbClr val="000000"/>
                </a:solidFill>
                <a:latin typeface="Segoe UI"/>
              </a:rPr>
              <a:t>	Startup time/ warmup time</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	State handling</a:t>
            </a:r>
            <a:endParaRPr lang="en-US" sz="2000" dirty="0">
              <a:solidFill>
                <a:srgbClr val="000000"/>
              </a:solidFill>
              <a:latin typeface="Segoe UI"/>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utoscaling / elasticity</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Throttling </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Serverless</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Containers</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218" name="Picture 2" descr="An illustration showing scaling up and scaling down of a virtual machine to change the performance capabilities.">
            <a:extLst>
              <a:ext uri="{FF2B5EF4-FFF2-40B4-BE49-F238E27FC236}">
                <a16:creationId xmlns:a16="http://schemas.microsoft.com/office/drawing/2014/main" id="{8034007B-84BA-4B0E-AA65-954E068395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27498" y="1231323"/>
            <a:ext cx="3276600" cy="1666875"/>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An illustration showing scaling out the resources to handle demand and scaling in the resources to reduce costs.">
            <a:extLst>
              <a:ext uri="{FF2B5EF4-FFF2-40B4-BE49-F238E27FC236}">
                <a16:creationId xmlns:a16="http://schemas.microsoft.com/office/drawing/2014/main" id="{5FC71592-182A-4FB8-A912-284DA14375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7373" y="3232439"/>
            <a:ext cx="4276725" cy="1085850"/>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An illustration showing how autoscale monitors the CPU levels of a pool of virtual machines and adds instances when the CPU utilization is above the threshold.">
            <a:extLst>
              <a:ext uri="{FF2B5EF4-FFF2-40B4-BE49-F238E27FC236}">
                <a16:creationId xmlns:a16="http://schemas.microsoft.com/office/drawing/2014/main" id="{A48073E5-C177-4195-A2BC-D072E317F5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22398" y="4986771"/>
            <a:ext cx="5981700" cy="1190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2243911"/>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i="0" dirty="0">
                <a:solidFill>
                  <a:schemeClr val="bg2"/>
                </a:solidFill>
                <a:effectLst/>
                <a:latin typeface="Segoe UI" panose="020B0502040204020203" pitchFamily="34" charset="0"/>
              </a:rPr>
              <a:t>Optimize network performance</a:t>
            </a:r>
            <a:endParaRPr lang="en-US" dirty="0">
              <a:solidFill>
                <a:schemeClr val="bg2"/>
              </a:solidFill>
            </a:endParaRPr>
          </a:p>
        </p:txBody>
      </p:sp>
      <p:sp>
        <p:nvSpPr>
          <p:cNvPr id="6" name="Rectangle 5">
            <a:extLst>
              <a:ext uri="{FF2B5EF4-FFF2-40B4-BE49-F238E27FC236}">
                <a16:creationId xmlns:a16="http://schemas.microsoft.com/office/drawing/2014/main" id="{FE02719F-E737-4A30-9B59-872F813F10C0}"/>
              </a:ext>
            </a:extLst>
          </p:cNvPr>
          <p:cNvSpPr/>
          <p:nvPr/>
        </p:nvSpPr>
        <p:spPr>
          <a:xfrm>
            <a:off x="631657" y="1275916"/>
            <a:ext cx="8519269" cy="190821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Latency</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	</a:t>
            </a:r>
            <a:r>
              <a:rPr kumimoji="0" lang="en-US" sz="2000" b="0" i="0" u="none" strike="noStrike" kern="1200" cap="none" spc="0" normalizeH="0" baseline="0" noProof="0" dirty="0">
                <a:ln>
                  <a:noFill/>
                </a:ln>
                <a:solidFill>
                  <a:srgbClr val="000000"/>
                </a:solidFill>
                <a:effectLst/>
                <a:uLnTx/>
                <a:uFillTx/>
                <a:latin typeface="Segoe UI"/>
                <a:ea typeface="+mn-ea"/>
                <a:cs typeface="+mn-cs"/>
              </a:rPr>
              <a:t>Between Azure resources</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000" dirty="0">
                <a:solidFill>
                  <a:srgbClr val="000000"/>
                </a:solidFill>
                <a:latin typeface="Segoe UI"/>
              </a:rPr>
              <a:t>	Between Azure and user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	Traffic Manager, CDN, Virtual WAN, Front Door, ExpressRoute</a:t>
            </a:r>
          </a:p>
        </p:txBody>
      </p:sp>
      <p:pic>
        <p:nvPicPr>
          <p:cNvPr id="12290" name="Picture 2" descr="An illustration showing network latency among resources placed at different geographical locations in the cloud.">
            <a:extLst>
              <a:ext uri="{FF2B5EF4-FFF2-40B4-BE49-F238E27FC236}">
                <a16:creationId xmlns:a16="http://schemas.microsoft.com/office/drawing/2014/main" id="{742771D9-0CE0-4BD5-903B-C419709073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28959" y="1153669"/>
            <a:ext cx="2520993" cy="2325399"/>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An illustration showing usage of Azure Content Delivery Network to reduce latency.">
            <a:extLst>
              <a:ext uri="{FF2B5EF4-FFF2-40B4-BE49-F238E27FC236}">
                <a16:creationId xmlns:a16="http://schemas.microsoft.com/office/drawing/2014/main" id="{A6305343-7363-40AA-9FA1-8F2EF252B7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1853" y="4777221"/>
            <a:ext cx="2619375" cy="1609725"/>
          </a:xfrm>
          <a:prstGeom prst="rect">
            <a:avLst/>
          </a:prstGeom>
          <a:noFill/>
          <a:extLst>
            <a:ext uri="{909E8E84-426E-40DD-AFC4-6F175D3DCCD1}">
              <a14:hiddenFill xmlns:a14="http://schemas.microsoft.com/office/drawing/2010/main">
                <a:solidFill>
                  <a:srgbClr val="FFFFFF"/>
                </a:solidFill>
              </a14:hiddenFill>
            </a:ext>
          </a:extLst>
        </p:spPr>
      </p:pic>
      <p:pic>
        <p:nvPicPr>
          <p:cNvPr id="14338" name="Picture 2" descr="An architectural diagram showing an ExpressRoute circuit connecting the customer network with Azure resources.">
            <a:extLst>
              <a:ext uri="{FF2B5EF4-FFF2-40B4-BE49-F238E27FC236}">
                <a16:creationId xmlns:a16="http://schemas.microsoft.com/office/drawing/2014/main" id="{EC30FEA3-D12C-4C94-A901-9B72C1C517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69970" y="4271547"/>
            <a:ext cx="5962299" cy="22545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8935847"/>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i="0" dirty="0">
                <a:solidFill>
                  <a:schemeClr val="bg2"/>
                </a:solidFill>
                <a:effectLst/>
                <a:latin typeface="Segoe UI" panose="020B0502040204020203" pitchFamily="34" charset="0"/>
              </a:rPr>
              <a:t>Optimize storage performance</a:t>
            </a:r>
            <a:endParaRPr lang="en-US" dirty="0">
              <a:solidFill>
                <a:schemeClr val="bg2"/>
              </a:solidFill>
            </a:endParaRPr>
          </a:p>
        </p:txBody>
      </p:sp>
      <p:sp>
        <p:nvSpPr>
          <p:cNvPr id="6" name="Rectangle 5">
            <a:extLst>
              <a:ext uri="{FF2B5EF4-FFF2-40B4-BE49-F238E27FC236}">
                <a16:creationId xmlns:a16="http://schemas.microsoft.com/office/drawing/2014/main" id="{FE02719F-E737-4A30-9B59-872F813F10C0}"/>
              </a:ext>
            </a:extLst>
          </p:cNvPr>
          <p:cNvSpPr/>
          <p:nvPr/>
        </p:nvSpPr>
        <p:spPr>
          <a:xfrm>
            <a:off x="631657" y="1275916"/>
            <a:ext cx="8519269" cy="150810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VM Storage perf: Premium vs Standard SSD, HDD</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Application Storage perf: Caching</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Polyglot: use of different data storage mechanisms</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pic>
        <p:nvPicPr>
          <p:cNvPr id="15362" name="Picture 2" descr="An illustration showing that retrieving data from cache is faster than retrieving from a database.">
            <a:extLst>
              <a:ext uri="{FF2B5EF4-FFF2-40B4-BE49-F238E27FC236}">
                <a16:creationId xmlns:a16="http://schemas.microsoft.com/office/drawing/2014/main" id="{BD6D9504-0EBB-449A-85C9-243B086463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5743" y="3890008"/>
            <a:ext cx="2781300" cy="2047875"/>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descr="An illustration showing usage of different data storage methods within the same application to increase performance and reduce cost.">
            <a:extLst>
              <a:ext uri="{FF2B5EF4-FFF2-40B4-BE49-F238E27FC236}">
                <a16:creationId xmlns:a16="http://schemas.microsoft.com/office/drawing/2014/main" id="{0C502CBD-CD36-43C0-A9BE-169C45531F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04518" y="4073980"/>
            <a:ext cx="3456192" cy="1793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8392577"/>
      </p:ext>
    </p:ext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b="1" i="0" dirty="0">
                <a:solidFill>
                  <a:schemeClr val="bg2"/>
                </a:solidFill>
                <a:effectLst/>
                <a:latin typeface="Segoe UI" panose="020B0502040204020203" pitchFamily="34" charset="0"/>
              </a:rPr>
              <a:t>Identif</a:t>
            </a:r>
            <a:r>
              <a:rPr lang="en-US" dirty="0">
                <a:solidFill>
                  <a:schemeClr val="bg2"/>
                </a:solidFill>
                <a:latin typeface="Segoe UI" panose="020B0502040204020203" pitchFamily="34" charset="0"/>
              </a:rPr>
              <a:t>y performance bottlenecks</a:t>
            </a:r>
            <a:endParaRPr lang="en-US" dirty="0">
              <a:solidFill>
                <a:schemeClr val="bg2"/>
              </a:solidFill>
            </a:endParaRPr>
          </a:p>
        </p:txBody>
      </p:sp>
      <p:sp>
        <p:nvSpPr>
          <p:cNvPr id="6" name="Rectangle 5">
            <a:extLst>
              <a:ext uri="{FF2B5EF4-FFF2-40B4-BE49-F238E27FC236}">
                <a16:creationId xmlns:a16="http://schemas.microsoft.com/office/drawing/2014/main" id="{FE02719F-E737-4A30-9B59-872F813F10C0}"/>
              </a:ext>
            </a:extLst>
          </p:cNvPr>
          <p:cNvSpPr/>
          <p:nvPr/>
        </p:nvSpPr>
        <p:spPr>
          <a:xfrm>
            <a:off x="631657" y="1275916"/>
            <a:ext cx="9987852" cy="181588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Azure Monitor: </a:t>
            </a:r>
            <a:r>
              <a:rPr lang="en-US" sz="2000" b="0" i="0">
                <a:solidFill>
                  <a:srgbClr val="171717"/>
                </a:solidFill>
                <a:effectLst/>
                <a:latin typeface="Segoe UI" panose="020B0502040204020203" pitchFamily="34" charset="0"/>
              </a:rPr>
              <a:t>single management point for infrastructure-level logs and monitoring for most of your Azure service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u="none" strike="noStrike" kern="1200" cap="none" spc="0" normalizeH="0" baseline="0" noProof="0">
                <a:ln>
                  <a:noFill/>
                </a:ln>
                <a:solidFill>
                  <a:srgbClr val="171717"/>
                </a:solidFill>
                <a:uLnTx/>
                <a:uFillTx/>
                <a:latin typeface="Segoe UI" panose="020B0502040204020203" pitchFamily="34" charset="0"/>
                <a:ea typeface="+mn-ea"/>
                <a:cs typeface="+mn-cs"/>
              </a:rPr>
              <a:t>Log Analytics: </a:t>
            </a:r>
            <a:r>
              <a:rPr lang="en-US" sz="2000" b="0" i="0">
                <a:solidFill>
                  <a:srgbClr val="171717"/>
                </a:solidFill>
                <a:effectLst/>
                <a:latin typeface="Segoe UI" panose="020B0502040204020203" pitchFamily="34" charset="0"/>
              </a:rPr>
              <a:t>query and aggregate data across log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Application performance management</a:t>
            </a:r>
          </a:p>
        </p:txBody>
      </p:sp>
      <p:pic>
        <p:nvPicPr>
          <p:cNvPr id="17410" name="Picture 2" descr="Diagram that depicts a high-level view of Azure Monitor.">
            <a:extLst>
              <a:ext uri="{FF2B5EF4-FFF2-40B4-BE49-F238E27FC236}">
                <a16:creationId xmlns:a16="http://schemas.microsoft.com/office/drawing/2014/main" id="{CA0AFB33-3127-4CC4-A5BD-87E31E2E2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073" y="3955472"/>
            <a:ext cx="4862271" cy="2675515"/>
          </a:xfrm>
          <a:prstGeom prst="rect">
            <a:avLst/>
          </a:prstGeom>
          <a:noFill/>
          <a:extLst>
            <a:ext uri="{909E8E84-426E-40DD-AFC4-6F175D3DCCD1}">
              <a14:hiddenFill xmlns:a14="http://schemas.microsoft.com/office/drawing/2010/main">
                <a:solidFill>
                  <a:srgbClr val="FFFFFF"/>
                </a:solidFill>
              </a14:hiddenFill>
            </a:ext>
          </a:extLst>
        </p:spPr>
      </p:pic>
      <p:pic>
        <p:nvPicPr>
          <p:cNvPr id="18434" name="Picture 2" descr="An illustration showing the role of Log Analytics in resource monitoring.">
            <a:extLst>
              <a:ext uri="{FF2B5EF4-FFF2-40B4-BE49-F238E27FC236}">
                <a16:creationId xmlns:a16="http://schemas.microsoft.com/office/drawing/2014/main" id="{BDD19436-F0A6-4A91-901C-014584E86F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3658" y="4080163"/>
            <a:ext cx="5140572" cy="221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8548732"/>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dirty="0"/>
              <a:t>Discussion (1)</a:t>
            </a:r>
          </a:p>
        </p:txBody>
      </p:sp>
      <p:sp>
        <p:nvSpPr>
          <p:cNvPr id="6" name="Rectangle 5">
            <a:extLst>
              <a:ext uri="{FF2B5EF4-FFF2-40B4-BE49-F238E27FC236}">
                <a16:creationId xmlns:a16="http://schemas.microsoft.com/office/drawing/2014/main" id="{FE02719F-E737-4A30-9B59-872F813F10C0}"/>
              </a:ext>
            </a:extLst>
          </p:cNvPr>
          <p:cNvSpPr/>
          <p:nvPr/>
        </p:nvSpPr>
        <p:spPr>
          <a:xfrm>
            <a:off x="631656" y="1275916"/>
            <a:ext cx="11230141" cy="150810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Cognitive Services / Web Frontend Multi-tenant Solution Deployed in USA</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New important customer in South Africa</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What do I do?</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A215F5D8-E043-4290-9050-64A8368C56DA}"/>
              </a:ext>
            </a:extLst>
          </p:cNvPr>
          <p:cNvPicPr>
            <a:picLocks noChangeAspect="1"/>
          </p:cNvPicPr>
          <p:nvPr/>
        </p:nvPicPr>
        <p:blipFill>
          <a:blip r:embed="rId3"/>
          <a:stretch>
            <a:fillRect/>
          </a:stretch>
        </p:blipFill>
        <p:spPr>
          <a:xfrm>
            <a:off x="1198485" y="3251024"/>
            <a:ext cx="3795851" cy="3524719"/>
          </a:xfrm>
          <a:prstGeom prst="rect">
            <a:avLst/>
          </a:prstGeom>
        </p:spPr>
      </p:pic>
    </p:spTree>
    <p:extLst>
      <p:ext uri="{BB962C8B-B14F-4D97-AF65-F5344CB8AC3E}">
        <p14:creationId xmlns:p14="http://schemas.microsoft.com/office/powerpoint/2010/main" val="3252688746"/>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dirty="0"/>
              <a:t>Discussion (2)</a:t>
            </a:r>
          </a:p>
        </p:txBody>
      </p:sp>
      <p:sp>
        <p:nvSpPr>
          <p:cNvPr id="6" name="Rectangle 5">
            <a:extLst>
              <a:ext uri="{FF2B5EF4-FFF2-40B4-BE49-F238E27FC236}">
                <a16:creationId xmlns:a16="http://schemas.microsoft.com/office/drawing/2014/main" id="{FE02719F-E737-4A30-9B59-872F813F10C0}"/>
              </a:ext>
            </a:extLst>
          </p:cNvPr>
          <p:cNvSpPr/>
          <p:nvPr/>
        </p:nvSpPr>
        <p:spPr>
          <a:xfrm>
            <a:off x="631657" y="1275916"/>
            <a:ext cx="9987852" cy="360098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Web App frontend, SQL Database backend</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Web App Configured to scale up to 6 instances, we are at Max</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SQL Database configured at Premium P1</a:t>
            </a:r>
          </a:p>
          <a:p>
            <a:pPr marL="0" marR="0" lvl="0" indent="0" algn="l" defTabSz="914367" rtl="0" eaLnBrk="1" fontAlgn="auto" latinLnBrk="0" hangingPunct="1">
              <a:lnSpc>
                <a:spcPct val="100000"/>
              </a:lnSpc>
              <a:spcBef>
                <a:spcPts val="0"/>
              </a:spcBef>
              <a:spcAft>
                <a:spcPts val="1200"/>
              </a:spcAft>
              <a:buClrTx/>
              <a:buSzTx/>
              <a:buFontTx/>
              <a:buNone/>
              <a:tabLst/>
              <a:defRPr/>
            </a:pPr>
            <a:endParaRPr lang="en-US" sz="2400" dirty="0">
              <a:solidFill>
                <a:srgbClr val="000000"/>
              </a:solidFill>
              <a:latin typeface="Segoe UI"/>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Users experience a degradation of performance.</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	How to I identify the bottleneck?</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	I cannot scale more (b</a:t>
            </a:r>
            <a:r>
              <a:rPr lang="en-US" sz="2400" dirty="0" err="1">
                <a:solidFill>
                  <a:srgbClr val="000000"/>
                </a:solidFill>
                <a:latin typeface="Segoe UI"/>
              </a:rPr>
              <a:t>udget</a:t>
            </a:r>
            <a:r>
              <a:rPr lang="en-US" sz="2400" dirty="0">
                <a:solidFill>
                  <a:srgbClr val="000000"/>
                </a:solidFill>
                <a:latin typeface="Segoe UI"/>
              </a:rPr>
              <a:t> limitations). What do I do?</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48896538"/>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21231-64A2-4754-9C60-777BDC6819B2}"/>
              </a:ext>
            </a:extLst>
          </p:cNvPr>
          <p:cNvSpPr>
            <a:spLocks noGrp="1"/>
          </p:cNvSpPr>
          <p:nvPr>
            <p:ph type="title"/>
          </p:nvPr>
        </p:nvSpPr>
        <p:spPr/>
        <p:txBody>
          <a:bodyPr/>
          <a:lstStyle/>
          <a:p>
            <a:r>
              <a:rPr lang="en-IN" dirty="0"/>
              <a:t>Testing for Resiliency</a:t>
            </a:r>
          </a:p>
        </p:txBody>
      </p:sp>
      <p:sp>
        <p:nvSpPr>
          <p:cNvPr id="3" name="Text Placeholder 2">
            <a:extLst>
              <a:ext uri="{FF2B5EF4-FFF2-40B4-BE49-F238E27FC236}">
                <a16:creationId xmlns:a16="http://schemas.microsoft.com/office/drawing/2014/main" id="{31A0F1CD-F176-4DBF-91E6-7CE4085B8ED4}"/>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2427647531"/>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670B7-DE2E-48CB-A334-84C652FDE75A}"/>
              </a:ext>
            </a:extLst>
          </p:cNvPr>
          <p:cNvSpPr>
            <a:spLocks noGrp="1"/>
          </p:cNvSpPr>
          <p:nvPr>
            <p:ph type="title"/>
          </p:nvPr>
        </p:nvSpPr>
        <p:spPr/>
        <p:txBody>
          <a:bodyPr/>
          <a:lstStyle/>
          <a:p>
            <a:r>
              <a:rPr lang="en-IN" dirty="0"/>
              <a:t>Testing for Resiliency</a:t>
            </a:r>
          </a:p>
        </p:txBody>
      </p:sp>
      <p:sp>
        <p:nvSpPr>
          <p:cNvPr id="3" name="Content Placeholder 2">
            <a:extLst>
              <a:ext uri="{FF2B5EF4-FFF2-40B4-BE49-F238E27FC236}">
                <a16:creationId xmlns:a16="http://schemas.microsoft.com/office/drawing/2014/main" id="{6C89F4D8-13C2-40BD-B1EE-6F8C20A0D483}"/>
              </a:ext>
            </a:extLst>
          </p:cNvPr>
          <p:cNvSpPr>
            <a:spLocks noGrp="1"/>
          </p:cNvSpPr>
          <p:nvPr>
            <p:ph idx="1"/>
          </p:nvPr>
        </p:nvSpPr>
        <p:spPr/>
        <p:txBody>
          <a:bodyPr>
            <a:normAutofit/>
          </a:bodyPr>
          <a:lstStyle/>
          <a:p>
            <a:r>
              <a:rPr lang="en-IN" dirty="0"/>
              <a:t>Resilience can’t be tested in the same way as application functionality by running unit tests etc</a:t>
            </a:r>
          </a:p>
          <a:p>
            <a:r>
              <a:rPr lang="en-IN" dirty="0"/>
              <a:t>Need to test how the end-to-end workload performs under failure conditions that only occur intermittently</a:t>
            </a:r>
          </a:p>
          <a:p>
            <a:r>
              <a:rPr lang="en-IN" dirty="0"/>
              <a:t>Testing is an iterative process </a:t>
            </a:r>
          </a:p>
          <a:p>
            <a:r>
              <a:rPr lang="en-IN" dirty="0"/>
              <a:t>Test the application, measure the outcome, analyse and address any failures that result, and repeat the process</a:t>
            </a:r>
          </a:p>
        </p:txBody>
      </p:sp>
    </p:spTree>
    <p:extLst>
      <p:ext uri="{BB962C8B-B14F-4D97-AF65-F5344CB8AC3E}">
        <p14:creationId xmlns:p14="http://schemas.microsoft.com/office/powerpoint/2010/main" val="1639643286"/>
      </p:ext>
    </p:ext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CBC35-E607-4DA2-97BA-AEABCBEF370C}"/>
              </a:ext>
            </a:extLst>
          </p:cNvPr>
          <p:cNvSpPr>
            <a:spLocks noGrp="1"/>
          </p:cNvSpPr>
          <p:nvPr>
            <p:ph type="title"/>
          </p:nvPr>
        </p:nvSpPr>
        <p:spPr/>
        <p:txBody>
          <a:bodyPr/>
          <a:lstStyle/>
          <a:p>
            <a:r>
              <a:rPr lang="en-IN" dirty="0"/>
              <a:t>Testing for Resiliency</a:t>
            </a:r>
          </a:p>
        </p:txBody>
      </p:sp>
      <p:sp>
        <p:nvSpPr>
          <p:cNvPr id="3" name="Content Placeholder 2">
            <a:extLst>
              <a:ext uri="{FF2B5EF4-FFF2-40B4-BE49-F238E27FC236}">
                <a16:creationId xmlns:a16="http://schemas.microsoft.com/office/drawing/2014/main" id="{3CD87647-E56F-4CFE-A092-2468585FA35C}"/>
              </a:ext>
            </a:extLst>
          </p:cNvPr>
          <p:cNvSpPr>
            <a:spLocks noGrp="1"/>
          </p:cNvSpPr>
          <p:nvPr>
            <p:ph idx="1"/>
          </p:nvPr>
        </p:nvSpPr>
        <p:spPr/>
        <p:txBody>
          <a:bodyPr>
            <a:normAutofit fontScale="92500" lnSpcReduction="20000"/>
          </a:bodyPr>
          <a:lstStyle/>
          <a:p>
            <a:r>
              <a:rPr lang="en-IN" dirty="0"/>
              <a:t>Fault injection testing</a:t>
            </a:r>
          </a:p>
          <a:p>
            <a:pPr lvl="1"/>
            <a:r>
              <a:rPr lang="en-IN" dirty="0"/>
              <a:t>Test the resilience of the system during failures, either by triggering actual failures or by simulating them. Some common failure scenarios to test:</a:t>
            </a:r>
          </a:p>
          <a:p>
            <a:pPr lvl="2"/>
            <a:r>
              <a:rPr lang="en-IN" dirty="0"/>
              <a:t>Shut down VM instances.</a:t>
            </a:r>
          </a:p>
          <a:p>
            <a:pPr lvl="2"/>
            <a:r>
              <a:rPr lang="en-IN" dirty="0"/>
              <a:t>Crash processes.</a:t>
            </a:r>
          </a:p>
          <a:p>
            <a:pPr lvl="2"/>
            <a:r>
              <a:rPr lang="en-IN" dirty="0"/>
              <a:t>Expire certificates.</a:t>
            </a:r>
          </a:p>
          <a:p>
            <a:pPr lvl="2"/>
            <a:r>
              <a:rPr lang="en-IN" dirty="0"/>
              <a:t>Change access keys.</a:t>
            </a:r>
          </a:p>
          <a:p>
            <a:pPr lvl="2"/>
            <a:r>
              <a:rPr lang="en-IN" dirty="0"/>
              <a:t>Shut down the DNS service on domain controllers.</a:t>
            </a:r>
          </a:p>
          <a:p>
            <a:pPr lvl="2"/>
            <a:r>
              <a:rPr lang="en-IN" dirty="0"/>
              <a:t>Limit available system resources, such as RAM or number of threads.</a:t>
            </a:r>
          </a:p>
          <a:p>
            <a:pPr lvl="2"/>
            <a:r>
              <a:rPr lang="en-IN" dirty="0"/>
              <a:t>Unmount disks.</a:t>
            </a:r>
          </a:p>
          <a:p>
            <a:pPr lvl="2"/>
            <a:r>
              <a:rPr lang="en-IN" dirty="0"/>
              <a:t>Redeploy a VM</a:t>
            </a:r>
          </a:p>
          <a:p>
            <a:pPr lvl="1"/>
            <a:r>
              <a:rPr lang="en-IN" dirty="0"/>
              <a:t>Measure the recovery times and verify that business requirements are met</a:t>
            </a:r>
          </a:p>
          <a:p>
            <a:pPr lvl="1"/>
            <a:r>
              <a:rPr lang="en-IN" dirty="0"/>
              <a:t>Test combinations of failure modes</a:t>
            </a:r>
          </a:p>
          <a:p>
            <a:r>
              <a:rPr lang="en-IN" dirty="0"/>
              <a:t>Load Testing</a:t>
            </a:r>
          </a:p>
          <a:p>
            <a:pPr lvl="1"/>
            <a:r>
              <a:rPr lang="en-IN" dirty="0"/>
              <a:t>Crucial for identifying failures that only happen under load</a:t>
            </a:r>
          </a:p>
          <a:p>
            <a:pPr lvl="1"/>
            <a:r>
              <a:rPr lang="en-IN" dirty="0"/>
              <a:t>Useful for performance and scaling </a:t>
            </a:r>
          </a:p>
          <a:p>
            <a:r>
              <a:rPr lang="en-IN" dirty="0"/>
              <a:t>Disaster recovery drills</a:t>
            </a:r>
          </a:p>
          <a:p>
            <a:pPr lvl="1"/>
            <a:r>
              <a:rPr lang="en-IN" dirty="0"/>
              <a:t>Disaster recovery plan must also be tested periodically to ensure that the recovery plan works properly when it matters most</a:t>
            </a:r>
          </a:p>
        </p:txBody>
      </p:sp>
    </p:spTree>
    <p:extLst>
      <p:ext uri="{BB962C8B-B14F-4D97-AF65-F5344CB8AC3E}">
        <p14:creationId xmlns:p14="http://schemas.microsoft.com/office/powerpoint/2010/main" val="3519727209"/>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4BDF3-79B4-4A21-A331-D8F37C22E58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at is Resilience?</a:t>
            </a:r>
          </a:p>
        </p:txBody>
      </p:sp>
      <p:sp>
        <p:nvSpPr>
          <p:cNvPr id="3" name="Content Placeholder 2">
            <a:extLst>
              <a:ext uri="{FF2B5EF4-FFF2-40B4-BE49-F238E27FC236}">
                <a16:creationId xmlns:a16="http://schemas.microsoft.com/office/drawing/2014/main" id="{713B4781-757B-40F3-AA2F-439EFE3F45A6}"/>
              </a:ext>
            </a:extLst>
          </p:cNvPr>
          <p:cNvSpPr>
            <a:spLocks noGrp="1"/>
          </p:cNvSpPr>
          <p:nvPr>
            <p:ph idx="1"/>
          </p:nvPr>
        </p:nvSpPr>
        <p:spPr/>
        <p:txBody>
          <a:bodyPr anchor="ctr">
            <a:normAutofit/>
          </a:bodyPr>
          <a:lstStyle/>
          <a:p>
            <a:pPr marL="0" indent="0" algn="ctr">
              <a:buNone/>
            </a:pPr>
            <a:r>
              <a:rPr lang="en-IN" sz="2000" dirty="0"/>
              <a:t>Resilience is a system’s </a:t>
            </a:r>
            <a:r>
              <a:rPr lang="en-IN" sz="2000" b="1" dirty="0"/>
              <a:t>ability to recover from failures </a:t>
            </a:r>
            <a:r>
              <a:rPr lang="en-IN" sz="2000" dirty="0"/>
              <a:t>and continue to function. It’s not only about avoiding failures but also involves responding to failures in a way that </a:t>
            </a:r>
            <a:r>
              <a:rPr lang="en-IN" sz="2000" b="1" dirty="0"/>
              <a:t>minimizes downtime or data loss</a:t>
            </a:r>
            <a:r>
              <a:rPr lang="en-IN" sz="2000" dirty="0"/>
              <a:t>. Because failures can occur at various levels, it’s important to have protection for all types based on your application availability requirements</a:t>
            </a:r>
          </a:p>
        </p:txBody>
      </p:sp>
      <p:sp>
        <p:nvSpPr>
          <p:cNvPr id="4" name="Double Bracket 3">
            <a:extLst>
              <a:ext uri="{FF2B5EF4-FFF2-40B4-BE49-F238E27FC236}">
                <a16:creationId xmlns:a16="http://schemas.microsoft.com/office/drawing/2014/main" id="{D44E6BF9-27C6-4CB8-80AA-4C114C05BF96}"/>
              </a:ext>
            </a:extLst>
          </p:cNvPr>
          <p:cNvSpPr/>
          <p:nvPr/>
        </p:nvSpPr>
        <p:spPr>
          <a:xfrm>
            <a:off x="609600" y="2968283"/>
            <a:ext cx="11176000" cy="2391508"/>
          </a:xfrm>
          <a:prstGeom prst="bracketPair">
            <a:avLst>
              <a:gd name="adj" fmla="val 843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4242636526"/>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07DF9-A841-4C7C-86BB-1784D845CDE7}"/>
              </a:ext>
            </a:extLst>
          </p:cNvPr>
          <p:cNvSpPr>
            <a:spLocks noGrp="1"/>
          </p:cNvSpPr>
          <p:nvPr>
            <p:ph type="title"/>
          </p:nvPr>
        </p:nvSpPr>
        <p:spPr/>
        <p:txBody>
          <a:bodyPr/>
          <a:lstStyle/>
          <a:p>
            <a:r>
              <a:rPr lang="en-IN" dirty="0"/>
              <a:t>Deploy using a reliable process</a:t>
            </a:r>
          </a:p>
        </p:txBody>
      </p:sp>
      <p:sp>
        <p:nvSpPr>
          <p:cNvPr id="3" name="Text Placeholder 2">
            <a:extLst>
              <a:ext uri="{FF2B5EF4-FFF2-40B4-BE49-F238E27FC236}">
                <a16:creationId xmlns:a16="http://schemas.microsoft.com/office/drawing/2014/main" id="{C775EF65-2039-49A7-A4CC-042A3226ACF1}"/>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537800918"/>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1FF77-7C9C-42B1-B099-E8F485D529DD}"/>
              </a:ext>
            </a:extLst>
          </p:cNvPr>
          <p:cNvSpPr>
            <a:spLocks noGrp="1"/>
          </p:cNvSpPr>
          <p:nvPr>
            <p:ph type="title"/>
          </p:nvPr>
        </p:nvSpPr>
        <p:spPr/>
        <p:txBody>
          <a:bodyPr/>
          <a:lstStyle/>
          <a:p>
            <a:r>
              <a:rPr lang="en-IN" dirty="0"/>
              <a:t>Resilient deployment</a:t>
            </a:r>
          </a:p>
        </p:txBody>
      </p:sp>
      <p:sp>
        <p:nvSpPr>
          <p:cNvPr id="3" name="Content Placeholder 2">
            <a:extLst>
              <a:ext uri="{FF2B5EF4-FFF2-40B4-BE49-F238E27FC236}">
                <a16:creationId xmlns:a16="http://schemas.microsoft.com/office/drawing/2014/main" id="{E5166BC7-F54F-4B7E-8A7A-C3EA1CFF4CEC}"/>
              </a:ext>
            </a:extLst>
          </p:cNvPr>
          <p:cNvSpPr>
            <a:spLocks noGrp="1"/>
          </p:cNvSpPr>
          <p:nvPr>
            <p:ph idx="1"/>
          </p:nvPr>
        </p:nvSpPr>
        <p:spPr/>
        <p:txBody>
          <a:bodyPr/>
          <a:lstStyle/>
          <a:p>
            <a:r>
              <a:rPr lang="en-IN" dirty="0"/>
              <a:t>Manual deployments are prone to error</a:t>
            </a:r>
          </a:p>
          <a:p>
            <a:r>
              <a:rPr lang="en-IN" dirty="0"/>
              <a:t>Recommended to have an automated, idempotent deployment process that you can run on demand and re-run if something fails.</a:t>
            </a:r>
          </a:p>
          <a:p>
            <a:r>
              <a:rPr lang="en-IN" dirty="0"/>
              <a:t>After an application is deployed to production, updates present a potential source of errors</a:t>
            </a:r>
          </a:p>
          <a:p>
            <a:r>
              <a:rPr lang="en-IN" dirty="0"/>
              <a:t>Deployment includes provisioning Azure resources, deploying application code, and applying configuration settings</a:t>
            </a:r>
          </a:p>
        </p:txBody>
      </p:sp>
    </p:spTree>
    <p:extLst>
      <p:ext uri="{BB962C8B-B14F-4D97-AF65-F5344CB8AC3E}">
        <p14:creationId xmlns:p14="http://schemas.microsoft.com/office/powerpoint/2010/main" val="3249134139"/>
      </p:ext>
    </p:ext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C0D00-2123-4AA7-B87E-22A7CBFF3349}"/>
              </a:ext>
            </a:extLst>
          </p:cNvPr>
          <p:cNvSpPr>
            <a:spLocks noGrp="1"/>
          </p:cNvSpPr>
          <p:nvPr>
            <p:ph type="title"/>
          </p:nvPr>
        </p:nvSpPr>
        <p:spPr/>
        <p:txBody>
          <a:bodyPr/>
          <a:lstStyle/>
          <a:p>
            <a:r>
              <a:rPr lang="en-IN" dirty="0"/>
              <a:t>Resilient deployment concepts</a:t>
            </a:r>
          </a:p>
        </p:txBody>
      </p:sp>
      <p:graphicFrame>
        <p:nvGraphicFramePr>
          <p:cNvPr id="4" name="Content Placeholder 3">
            <a:extLst>
              <a:ext uri="{FF2B5EF4-FFF2-40B4-BE49-F238E27FC236}">
                <a16:creationId xmlns:a16="http://schemas.microsoft.com/office/drawing/2014/main" id="{E4BB2F8D-FF1E-4AF1-8ED2-5DC18932535C}"/>
              </a:ext>
            </a:extLst>
          </p:cNvPr>
          <p:cNvGraphicFramePr>
            <a:graphicFrameLocks noGrp="1"/>
          </p:cNvGraphicFramePr>
          <p:nvPr>
            <p:ph idx="1"/>
            <p:extLst>
              <p:ext uri="{D42A27DB-BD31-4B8C-83A1-F6EECF244321}">
                <p14:modId xmlns:p14="http://schemas.microsoft.com/office/powerpoint/2010/main" val="1516931868"/>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2841637"/>
      </p:ext>
    </p:extLst>
  </p:cSld>
  <p:clrMapOvr>
    <a:masterClrMapping/>
  </p:clrMapOvr>
  <p:transition spd="slow">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8FB12-4B78-48FE-9DC4-4F2BF5B3C432}"/>
              </a:ext>
            </a:extLst>
          </p:cNvPr>
          <p:cNvSpPr>
            <a:spLocks noGrp="1"/>
          </p:cNvSpPr>
          <p:nvPr>
            <p:ph type="title"/>
          </p:nvPr>
        </p:nvSpPr>
        <p:spPr/>
        <p:txBody>
          <a:bodyPr/>
          <a:lstStyle/>
          <a:p>
            <a:r>
              <a:rPr lang="en-IN" dirty="0"/>
              <a:t>Application updates</a:t>
            </a:r>
          </a:p>
        </p:txBody>
      </p:sp>
      <p:graphicFrame>
        <p:nvGraphicFramePr>
          <p:cNvPr id="4" name="Content Placeholder 3">
            <a:extLst>
              <a:ext uri="{FF2B5EF4-FFF2-40B4-BE49-F238E27FC236}">
                <a16:creationId xmlns:a16="http://schemas.microsoft.com/office/drawing/2014/main" id="{76153DF2-2970-44F6-B295-0753790EAB87}"/>
              </a:ext>
            </a:extLst>
          </p:cNvPr>
          <p:cNvGraphicFramePr>
            <a:graphicFrameLocks noGrp="1"/>
          </p:cNvGraphicFramePr>
          <p:nvPr>
            <p:ph idx="1"/>
            <p:extLst>
              <p:ext uri="{D42A27DB-BD31-4B8C-83A1-F6EECF244321}">
                <p14:modId xmlns:p14="http://schemas.microsoft.com/office/powerpoint/2010/main" val="3172352963"/>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22971012"/>
      </p:ext>
    </p:extLst>
  </p:cSld>
  <p:clrMapOvr>
    <a:masterClrMapping/>
  </p:clrMapOvr>
  <p:transition spd="slow">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dirty="0"/>
              <a:t>Automation</a:t>
            </a:r>
          </a:p>
        </p:txBody>
      </p:sp>
      <p:sp>
        <p:nvSpPr>
          <p:cNvPr id="5" name="Content Placeholder 4">
            <a:extLst>
              <a:ext uri="{FF2B5EF4-FFF2-40B4-BE49-F238E27FC236}">
                <a16:creationId xmlns:a16="http://schemas.microsoft.com/office/drawing/2014/main" id="{4E538971-1BB0-43A2-A449-67AB8AAB0E27}"/>
              </a:ext>
            </a:extLst>
          </p:cNvPr>
          <p:cNvSpPr>
            <a:spLocks noGrp="1"/>
          </p:cNvSpPr>
          <p:nvPr>
            <p:ph type="subTitle" idx="4294967295"/>
          </p:nvPr>
        </p:nvSpPr>
        <p:spPr>
          <a:xfrm>
            <a:off x="203200" y="713941"/>
            <a:ext cx="11229975" cy="561975"/>
          </a:xfrm>
        </p:spPr>
        <p:txBody>
          <a:bodyPr>
            <a:normAutofit/>
          </a:bodyPr>
          <a:lstStyle/>
          <a:p>
            <a:pPr marL="0" indent="0">
              <a:buNone/>
            </a:pPr>
            <a:r>
              <a:rPr lang="en-US" sz="1600" dirty="0"/>
              <a:t>Objectives: Shorter time to market; On Demand; Minimize Errors; Consistent Results</a:t>
            </a:r>
          </a:p>
        </p:txBody>
      </p:sp>
      <p:sp>
        <p:nvSpPr>
          <p:cNvPr id="6" name="Rectangle 5">
            <a:extLst>
              <a:ext uri="{FF2B5EF4-FFF2-40B4-BE49-F238E27FC236}">
                <a16:creationId xmlns:a16="http://schemas.microsoft.com/office/drawing/2014/main" id="{FE02719F-E737-4A30-9B59-872F813F10C0}"/>
              </a:ext>
            </a:extLst>
          </p:cNvPr>
          <p:cNvSpPr/>
          <p:nvPr/>
        </p:nvSpPr>
        <p:spPr>
          <a:xfrm>
            <a:off x="631658" y="1275916"/>
            <a:ext cx="5769142" cy="437042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Imperative vs Declarative Automation</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	ARM, </a:t>
            </a:r>
            <a:r>
              <a:rPr kumimoji="0" lang="en-US" sz="2400" b="0" i="0" u="none" strike="noStrike" kern="1200" cap="none" spc="0" normalizeH="0" baseline="0" noProof="0" err="1">
                <a:ln>
                  <a:noFill/>
                </a:ln>
                <a:solidFill>
                  <a:srgbClr val="000000"/>
                </a:solidFill>
                <a:effectLst/>
                <a:uLnTx/>
                <a:uFillTx/>
                <a:latin typeface="Segoe UI"/>
                <a:ea typeface="+mn-ea"/>
                <a:cs typeface="+mn-cs"/>
              </a:rPr>
              <a:t>TerraForm</a:t>
            </a:r>
            <a:r>
              <a:rPr kumimoji="0" lang="en-US" sz="2400" b="0" i="0" u="none" strike="noStrike" kern="1200" cap="none" spc="0" normalizeH="0" baseline="0" noProof="0">
                <a:ln>
                  <a:noFill/>
                </a:ln>
                <a:solidFill>
                  <a:srgbClr val="000000"/>
                </a:solidFill>
                <a:effectLst/>
                <a:uLnTx/>
                <a:uFillTx/>
                <a:latin typeface="Segoe UI"/>
                <a:ea typeface="+mn-ea"/>
                <a:cs typeface="+mn-cs"/>
              </a:rPr>
              <a:t>, Bicep</a:t>
            </a:r>
          </a:p>
          <a:p>
            <a:pPr marL="0" marR="0" lvl="0" indent="0" algn="l" defTabSz="914367" rtl="0" eaLnBrk="1" fontAlgn="auto" latinLnBrk="0" hangingPunct="1">
              <a:lnSpc>
                <a:spcPct val="100000"/>
              </a:lnSpc>
              <a:spcBef>
                <a:spcPts val="0"/>
              </a:spcBef>
              <a:spcAft>
                <a:spcPts val="120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VM images vs post-deployment configuration</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ustom Images</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000">
                <a:solidFill>
                  <a:srgbClr val="000000"/>
                </a:solidFill>
                <a:latin typeface="Segoe UI"/>
              </a:rPr>
              <a:t>	PowerShell DSC</a:t>
            </a:r>
          </a:p>
          <a:p>
            <a:pPr marL="0" marR="0" lvl="0" indent="0" algn="l" defTabSz="914367"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Operational Tasks Automation</a:t>
            </a:r>
            <a:endParaRPr kumimoji="0" lang="en-AU" sz="2800" b="0" i="0" u="none" strike="noStrike" kern="1200" cap="none" spc="0" normalizeH="0" baseline="0" noProof="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C8F34776-B9F9-432E-8C83-A2F6C6E1612C}"/>
              </a:ext>
            </a:extLst>
          </p:cNvPr>
          <p:cNvPicPr>
            <a:picLocks noChangeAspect="1"/>
          </p:cNvPicPr>
          <p:nvPr/>
        </p:nvPicPr>
        <p:blipFill>
          <a:blip r:embed="rId3"/>
          <a:stretch>
            <a:fillRect/>
          </a:stretch>
        </p:blipFill>
        <p:spPr>
          <a:xfrm>
            <a:off x="6246729" y="1349554"/>
            <a:ext cx="2900856" cy="1637481"/>
          </a:xfrm>
          <a:prstGeom prst="rect">
            <a:avLst/>
          </a:prstGeom>
        </p:spPr>
      </p:pic>
      <p:pic>
        <p:nvPicPr>
          <p:cNvPr id="8" name="Picture 7">
            <a:extLst>
              <a:ext uri="{FF2B5EF4-FFF2-40B4-BE49-F238E27FC236}">
                <a16:creationId xmlns:a16="http://schemas.microsoft.com/office/drawing/2014/main" id="{622C4216-8050-4748-955A-F247748722E9}"/>
              </a:ext>
            </a:extLst>
          </p:cNvPr>
          <p:cNvPicPr>
            <a:picLocks noChangeAspect="1"/>
          </p:cNvPicPr>
          <p:nvPr/>
        </p:nvPicPr>
        <p:blipFill>
          <a:blip r:embed="rId4"/>
          <a:stretch>
            <a:fillRect/>
          </a:stretch>
        </p:blipFill>
        <p:spPr>
          <a:xfrm>
            <a:off x="9269436" y="1349554"/>
            <a:ext cx="2592364" cy="3151827"/>
          </a:xfrm>
          <a:prstGeom prst="rect">
            <a:avLst/>
          </a:prstGeom>
        </p:spPr>
      </p:pic>
      <p:pic>
        <p:nvPicPr>
          <p:cNvPr id="8194" name="Picture 2" descr="An illustration showing the role of Azure Automation in managing a repetitive business process.">
            <a:extLst>
              <a:ext uri="{FF2B5EF4-FFF2-40B4-BE49-F238E27FC236}">
                <a16:creationId xmlns:a16="http://schemas.microsoft.com/office/drawing/2014/main" id="{BF1EC27B-2580-422D-B48D-890FBBC351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5388" y="4617519"/>
            <a:ext cx="3037609" cy="17535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9490153"/>
      </p:ext>
    </p:extLst>
  </p:cSld>
  <p:clrMapOvr>
    <a:masterClrMapping/>
  </p:clrMapOvr>
  <p:transition spd="slow">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i="0" dirty="0">
                <a:solidFill>
                  <a:schemeClr val="bg2"/>
                </a:solidFill>
                <a:effectLst/>
                <a:latin typeface="Segoe UI" panose="020B0502040204020203" pitchFamily="34" charset="0"/>
              </a:rPr>
              <a:t>Design, build, and orchestrate with modern practices</a:t>
            </a:r>
            <a:endParaRPr lang="en-US" dirty="0">
              <a:solidFill>
                <a:schemeClr val="bg2"/>
              </a:solidFill>
            </a:endParaRPr>
          </a:p>
        </p:txBody>
      </p:sp>
      <p:sp>
        <p:nvSpPr>
          <p:cNvPr id="6" name="Rectangle 5">
            <a:extLst>
              <a:ext uri="{FF2B5EF4-FFF2-40B4-BE49-F238E27FC236}">
                <a16:creationId xmlns:a16="http://schemas.microsoft.com/office/drawing/2014/main" id="{FE02719F-E737-4A30-9B59-872F813F10C0}"/>
              </a:ext>
            </a:extLst>
          </p:cNvPr>
          <p:cNvSpPr/>
          <p:nvPr/>
        </p:nvSpPr>
        <p:spPr>
          <a:xfrm>
            <a:off x="643842" y="1484477"/>
            <a:ext cx="5673831" cy="240065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AU" sz="2400" b="0" i="0" u="none" strike="noStrike" kern="1200" cap="none" spc="0" normalizeH="0" baseline="0" noProof="0">
                <a:ln>
                  <a:noFill/>
                </a:ln>
                <a:solidFill>
                  <a:srgbClr val="000000"/>
                </a:solidFill>
                <a:effectLst/>
                <a:uLnTx/>
                <a:uFillTx/>
                <a:latin typeface="Segoe UI"/>
                <a:ea typeface="+mn-ea"/>
                <a:cs typeface="+mn-cs"/>
              </a:rPr>
              <a:t>DevOp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Continuous Integration and Continuous Delivery (CI/CD)</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Microservice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Environment consistency</a:t>
            </a:r>
            <a:endParaRPr kumimoji="0" lang="en-AU" sz="2400" b="0" i="0" u="none" strike="noStrike" kern="1200" cap="none" spc="0" normalizeH="0" baseline="0" noProof="0">
              <a:ln>
                <a:noFill/>
              </a:ln>
              <a:solidFill>
                <a:srgbClr val="000000"/>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3D37FD53-66B5-4EAE-9037-2BE585D74156}"/>
              </a:ext>
            </a:extLst>
          </p:cNvPr>
          <p:cNvPicPr>
            <a:picLocks noChangeAspect="1"/>
          </p:cNvPicPr>
          <p:nvPr/>
        </p:nvPicPr>
        <p:blipFill>
          <a:blip r:embed="rId3"/>
          <a:stretch>
            <a:fillRect/>
          </a:stretch>
        </p:blipFill>
        <p:spPr>
          <a:xfrm>
            <a:off x="6246729" y="1477437"/>
            <a:ext cx="4545144" cy="1935432"/>
          </a:xfrm>
          <a:prstGeom prst="rect">
            <a:avLst/>
          </a:prstGeom>
        </p:spPr>
      </p:pic>
      <p:pic>
        <p:nvPicPr>
          <p:cNvPr id="9" name="Picture 8">
            <a:extLst>
              <a:ext uri="{FF2B5EF4-FFF2-40B4-BE49-F238E27FC236}">
                <a16:creationId xmlns:a16="http://schemas.microsoft.com/office/drawing/2014/main" id="{E2A9CD24-BEB7-4E93-864B-01BBCF27A368}"/>
              </a:ext>
            </a:extLst>
          </p:cNvPr>
          <p:cNvPicPr>
            <a:picLocks noChangeAspect="1"/>
          </p:cNvPicPr>
          <p:nvPr/>
        </p:nvPicPr>
        <p:blipFill>
          <a:blip r:embed="rId4"/>
          <a:stretch>
            <a:fillRect/>
          </a:stretch>
        </p:blipFill>
        <p:spPr>
          <a:xfrm>
            <a:off x="7645891" y="3591205"/>
            <a:ext cx="4485808" cy="1586054"/>
          </a:xfrm>
          <a:prstGeom prst="rect">
            <a:avLst/>
          </a:prstGeom>
        </p:spPr>
      </p:pic>
      <p:pic>
        <p:nvPicPr>
          <p:cNvPr id="11" name="Picture 10">
            <a:extLst>
              <a:ext uri="{FF2B5EF4-FFF2-40B4-BE49-F238E27FC236}">
                <a16:creationId xmlns:a16="http://schemas.microsoft.com/office/drawing/2014/main" id="{1B9B05E2-AA7E-4063-8245-D45502D79B21}"/>
              </a:ext>
            </a:extLst>
          </p:cNvPr>
          <p:cNvPicPr>
            <a:picLocks noChangeAspect="1"/>
          </p:cNvPicPr>
          <p:nvPr/>
        </p:nvPicPr>
        <p:blipFill>
          <a:blip r:embed="rId5"/>
          <a:stretch>
            <a:fillRect/>
          </a:stretch>
        </p:blipFill>
        <p:spPr>
          <a:xfrm>
            <a:off x="6317673" y="5245429"/>
            <a:ext cx="3571122" cy="1297507"/>
          </a:xfrm>
          <a:prstGeom prst="rect">
            <a:avLst/>
          </a:prstGeom>
        </p:spPr>
      </p:pic>
    </p:spTree>
    <p:extLst>
      <p:ext uri="{BB962C8B-B14F-4D97-AF65-F5344CB8AC3E}">
        <p14:creationId xmlns:p14="http://schemas.microsoft.com/office/powerpoint/2010/main" val="1763739267"/>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b="1" i="0" dirty="0">
                <a:solidFill>
                  <a:schemeClr val="bg2"/>
                </a:solidFill>
                <a:effectLst/>
                <a:latin typeface="Segoe UI" panose="020B0502040204020203" pitchFamily="34" charset="0"/>
              </a:rPr>
              <a:t>Discussion (1)</a:t>
            </a:r>
            <a:endParaRPr lang="en-US" dirty="0">
              <a:solidFill>
                <a:schemeClr val="bg2"/>
              </a:solidFill>
            </a:endParaRPr>
          </a:p>
        </p:txBody>
      </p:sp>
      <p:sp>
        <p:nvSpPr>
          <p:cNvPr id="6" name="Rectangle 5">
            <a:extLst>
              <a:ext uri="{FF2B5EF4-FFF2-40B4-BE49-F238E27FC236}">
                <a16:creationId xmlns:a16="http://schemas.microsoft.com/office/drawing/2014/main" id="{FE02719F-E737-4A30-9B59-872F813F10C0}"/>
              </a:ext>
            </a:extLst>
          </p:cNvPr>
          <p:cNvSpPr/>
          <p:nvPr/>
        </p:nvSpPr>
        <p:spPr>
          <a:xfrm>
            <a:off x="631656" y="1275916"/>
            <a:ext cx="11230141" cy="307776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Multi-tenant solution that we develop and host for our customers</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Each Customer has i</a:t>
            </a:r>
            <a:r>
              <a:rPr kumimoji="0" lang="en-US" sz="2400" b="0" i="0" u="none" strike="noStrike" kern="1200" cap="none" spc="0" normalizeH="0" baseline="0" noProof="0" dirty="0" err="1">
                <a:ln>
                  <a:noFill/>
                </a:ln>
                <a:solidFill>
                  <a:srgbClr val="000000"/>
                </a:solidFill>
                <a:effectLst/>
                <a:uLnTx/>
                <a:uFillTx/>
                <a:latin typeface="Segoe UI"/>
                <a:ea typeface="+mn-ea"/>
                <a:cs typeface="+mn-cs"/>
              </a:rPr>
              <a:t>solated</a:t>
            </a:r>
            <a:r>
              <a:rPr kumimoji="0" lang="en-US" sz="2400" b="0" i="0" u="none" strike="noStrike" kern="1200" cap="none" spc="0" normalizeH="0" baseline="0" noProof="0" dirty="0">
                <a:ln>
                  <a:noFill/>
                </a:ln>
                <a:solidFill>
                  <a:srgbClr val="000000"/>
                </a:solidFill>
                <a:effectLst/>
                <a:uLnTx/>
                <a:uFillTx/>
                <a:latin typeface="Segoe UI"/>
                <a:ea typeface="+mn-ea"/>
                <a:cs typeface="+mn-cs"/>
              </a:rPr>
              <a:t> VNET and Subs (for security and governance)</a:t>
            </a:r>
          </a:p>
          <a:p>
            <a:pPr marL="0" marR="0" lvl="0" indent="0" algn="l" defTabSz="914367" rtl="0" eaLnBrk="1" fontAlgn="auto" latinLnBrk="0" hangingPunct="1">
              <a:lnSpc>
                <a:spcPct val="100000"/>
              </a:lnSpc>
              <a:spcBef>
                <a:spcPts val="0"/>
              </a:spcBef>
              <a:spcAft>
                <a:spcPts val="1200"/>
              </a:spcAft>
              <a:buClrTx/>
              <a:buSzTx/>
              <a:buFontTx/>
              <a:buNone/>
              <a:tabLst/>
              <a:defRPr/>
            </a:pPr>
            <a:endParaRPr lang="en-US" sz="2400" dirty="0">
              <a:solidFill>
                <a:srgbClr val="000000"/>
              </a:solidFill>
              <a:latin typeface="Segoe UI"/>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How do I make sure that onboarding a new Customer is as seamless as possible?</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	</a:t>
            </a:r>
            <a:r>
              <a:rPr lang="en-US" sz="2400" dirty="0" err="1">
                <a:solidFill>
                  <a:srgbClr val="000000"/>
                </a:solidFill>
                <a:latin typeface="Segoe UI"/>
              </a:rPr>
              <a:t>CloudOps</a:t>
            </a:r>
            <a:r>
              <a:rPr lang="en-US" sz="2400" dirty="0">
                <a:solidFill>
                  <a:srgbClr val="000000"/>
                </a:solidFill>
                <a:latin typeface="Segoe UI"/>
              </a:rPr>
              <a:t>, Governance, etc.</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	DevOps</a:t>
            </a:r>
          </a:p>
        </p:txBody>
      </p:sp>
    </p:spTree>
    <p:extLst>
      <p:ext uri="{BB962C8B-B14F-4D97-AF65-F5344CB8AC3E}">
        <p14:creationId xmlns:p14="http://schemas.microsoft.com/office/powerpoint/2010/main" val="2017574840"/>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C8EC6-4D6A-4692-B3FD-D779C60FBB7B}"/>
              </a:ext>
            </a:extLst>
          </p:cNvPr>
          <p:cNvSpPr>
            <a:spLocks noGrp="1"/>
          </p:cNvSpPr>
          <p:nvPr>
            <p:ph type="title"/>
          </p:nvPr>
        </p:nvSpPr>
        <p:spPr/>
        <p:txBody>
          <a:bodyPr/>
          <a:lstStyle/>
          <a:p>
            <a:r>
              <a:rPr lang="en-IN" dirty="0"/>
              <a:t>Monitor for failure</a:t>
            </a:r>
          </a:p>
        </p:txBody>
      </p:sp>
      <p:sp>
        <p:nvSpPr>
          <p:cNvPr id="3" name="Text Placeholder 2">
            <a:extLst>
              <a:ext uri="{FF2B5EF4-FFF2-40B4-BE49-F238E27FC236}">
                <a16:creationId xmlns:a16="http://schemas.microsoft.com/office/drawing/2014/main" id="{61C051D4-1717-43C7-BE9E-A7A6249504DB}"/>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250067880"/>
      </p:ext>
    </p:extLst>
  </p:cSld>
  <p:clrMapOvr>
    <a:masterClrMapping/>
  </p:clrMapOvr>
  <p:transition spd="slow">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CBE6D-545D-485B-9EBA-1B2373206E80}"/>
              </a:ext>
            </a:extLst>
          </p:cNvPr>
          <p:cNvSpPr>
            <a:spLocks noGrp="1"/>
          </p:cNvSpPr>
          <p:nvPr>
            <p:ph type="title"/>
          </p:nvPr>
        </p:nvSpPr>
        <p:spPr/>
        <p:txBody>
          <a:bodyPr/>
          <a:lstStyle/>
          <a:p>
            <a:r>
              <a:rPr lang="en-IN" dirty="0"/>
              <a:t>Monitoring and diagnostics</a:t>
            </a:r>
          </a:p>
        </p:txBody>
      </p:sp>
      <p:pic>
        <p:nvPicPr>
          <p:cNvPr id="5" name="Picture 4">
            <a:extLst>
              <a:ext uri="{FF2B5EF4-FFF2-40B4-BE49-F238E27FC236}">
                <a16:creationId xmlns:a16="http://schemas.microsoft.com/office/drawing/2014/main" id="{49539B2D-DB25-4679-AEEF-9762F1BA800C}"/>
              </a:ext>
            </a:extLst>
          </p:cNvPr>
          <p:cNvPicPr>
            <a:picLocks noChangeAspect="1"/>
          </p:cNvPicPr>
          <p:nvPr/>
        </p:nvPicPr>
        <p:blipFill>
          <a:blip r:embed="rId3"/>
          <a:stretch>
            <a:fillRect/>
          </a:stretch>
        </p:blipFill>
        <p:spPr>
          <a:xfrm>
            <a:off x="684135" y="2982514"/>
            <a:ext cx="10823730" cy="1687513"/>
          </a:xfrm>
          <a:prstGeom prst="rect">
            <a:avLst/>
          </a:prstGeom>
        </p:spPr>
      </p:pic>
    </p:spTree>
    <p:extLst>
      <p:ext uri="{BB962C8B-B14F-4D97-AF65-F5344CB8AC3E}">
        <p14:creationId xmlns:p14="http://schemas.microsoft.com/office/powerpoint/2010/main" val="911537157"/>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41E9B-A2DF-43C4-BD7D-01ED8F839CB0}"/>
              </a:ext>
            </a:extLst>
          </p:cNvPr>
          <p:cNvSpPr>
            <a:spLocks noGrp="1"/>
          </p:cNvSpPr>
          <p:nvPr>
            <p:ph type="title"/>
          </p:nvPr>
        </p:nvSpPr>
        <p:spPr/>
        <p:txBody>
          <a:bodyPr/>
          <a:lstStyle/>
          <a:p>
            <a:r>
              <a:rPr lang="en-US" dirty="0"/>
              <a:t>Monitoring tips and tricks</a:t>
            </a:r>
          </a:p>
        </p:txBody>
      </p:sp>
      <p:sp>
        <p:nvSpPr>
          <p:cNvPr id="6" name="Content Placeholder 2">
            <a:extLst>
              <a:ext uri="{FF2B5EF4-FFF2-40B4-BE49-F238E27FC236}">
                <a16:creationId xmlns:a16="http://schemas.microsoft.com/office/drawing/2014/main" id="{8FE58614-563E-45FD-BB14-34F1F2617DBB}"/>
              </a:ext>
            </a:extLst>
          </p:cNvPr>
          <p:cNvSpPr>
            <a:spLocks noGrp="1"/>
          </p:cNvSpPr>
          <p:nvPr>
            <p:ph idx="1"/>
          </p:nvPr>
        </p:nvSpPr>
        <p:spPr>
          <a:xfrm>
            <a:off x="609600" y="1371600"/>
            <a:ext cx="11238129" cy="5486400"/>
          </a:xfrm>
        </p:spPr>
        <p:txBody>
          <a:bodyPr/>
          <a:lstStyle/>
          <a:p>
            <a:r>
              <a:rPr lang="en-IN" dirty="0"/>
              <a:t>Use Azure Log Analytics as a store for logs</a:t>
            </a:r>
          </a:p>
          <a:p>
            <a:pPr lvl="1"/>
            <a:r>
              <a:rPr lang="en-IN" dirty="0"/>
              <a:t>Why? Easier to understand what is going on during an incident, using the query language</a:t>
            </a:r>
          </a:p>
          <a:p>
            <a:pPr lvl="1"/>
            <a:r>
              <a:rPr lang="en-IN" dirty="0"/>
              <a:t>Azure Diagnostics</a:t>
            </a:r>
          </a:p>
          <a:p>
            <a:pPr lvl="1"/>
            <a:r>
              <a:rPr lang="en-IN" dirty="0"/>
              <a:t>Application-level logs</a:t>
            </a:r>
          </a:p>
          <a:p>
            <a:r>
              <a:rPr lang="en-IN" dirty="0"/>
              <a:t>Use Dashboards</a:t>
            </a:r>
          </a:p>
          <a:p>
            <a:r>
              <a:rPr lang="en-IN" dirty="0"/>
              <a:t>Design and implement an Alerting system</a:t>
            </a:r>
          </a:p>
          <a:p>
            <a:pPr lvl="1"/>
            <a:r>
              <a:rPr lang="en-IN" dirty="0"/>
              <a:t>Probably using the exact same Resource-level metrics that you monitor</a:t>
            </a:r>
          </a:p>
          <a:p>
            <a:pPr lvl="1"/>
            <a:r>
              <a:rPr lang="en-IN" dirty="0"/>
              <a:t>Make sure not to overload the ticketing system</a:t>
            </a:r>
          </a:p>
          <a:p>
            <a:pPr lvl="1"/>
            <a:r>
              <a:rPr lang="en-IN" dirty="0"/>
              <a:t>Adapt iteratively. E.g.: after monitoring constantly some metrics, you find out which tend to get over a threshold </a:t>
            </a:r>
          </a:p>
          <a:p>
            <a:r>
              <a:rPr lang="en-IN" dirty="0"/>
              <a:t>Don’t forget to monitor the Azure Audit Logs</a:t>
            </a:r>
          </a:p>
          <a:p>
            <a:r>
              <a:rPr lang="en-IN" dirty="0"/>
              <a:t>Watch Azure Service Health</a:t>
            </a:r>
          </a:p>
        </p:txBody>
      </p:sp>
    </p:spTree>
    <p:extLst>
      <p:ext uri="{BB962C8B-B14F-4D97-AF65-F5344CB8AC3E}">
        <p14:creationId xmlns:p14="http://schemas.microsoft.com/office/powerpoint/2010/main" val="1263226004"/>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5EFEC-5B2A-4521-AFBB-DDCEF0DF37D8}"/>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fontScale="90000"/>
          </a:bodyPr>
          <a:lstStyle/>
          <a:p>
            <a:r>
              <a:rPr lang="en-US" dirty="0"/>
              <a:t>In the cloud - Building systems that survive failure is a </a:t>
            </a:r>
            <a:br>
              <a:rPr lang="en-US" dirty="0"/>
            </a:br>
            <a:r>
              <a:rPr lang="en-US" dirty="0"/>
              <a:t>Shared Responsibility</a:t>
            </a:r>
          </a:p>
        </p:txBody>
      </p:sp>
      <p:pic>
        <p:nvPicPr>
          <p:cNvPr id="4" name="Picture 3">
            <a:extLst>
              <a:ext uri="{FF2B5EF4-FFF2-40B4-BE49-F238E27FC236}">
                <a16:creationId xmlns:a16="http://schemas.microsoft.com/office/drawing/2014/main" id="{C9635F0C-EEDC-473C-A33B-C3E79FE7726D}"/>
              </a:ext>
            </a:extLst>
          </p:cNvPr>
          <p:cNvPicPr>
            <a:picLocks noChangeAspect="1"/>
          </p:cNvPicPr>
          <p:nvPr/>
        </p:nvPicPr>
        <p:blipFill>
          <a:blip r:embed="rId3"/>
          <a:stretch>
            <a:fillRect/>
          </a:stretch>
        </p:blipFill>
        <p:spPr>
          <a:xfrm>
            <a:off x="838200" y="2145118"/>
            <a:ext cx="10515599" cy="4153661"/>
          </a:xfrm>
          <a:prstGeom prst="rect">
            <a:avLst/>
          </a:prstGeom>
        </p:spPr>
      </p:pic>
    </p:spTree>
    <p:extLst>
      <p:ext uri="{BB962C8B-B14F-4D97-AF65-F5344CB8AC3E}">
        <p14:creationId xmlns:p14="http://schemas.microsoft.com/office/powerpoint/2010/main" val="274347746"/>
      </p:ext>
    </p:extLst>
  </p:cSld>
  <p:clrMapOvr>
    <a:masterClrMapping/>
  </p:clrMapOvr>
  <p:transition spd="slow">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i="0" dirty="0">
                <a:solidFill>
                  <a:schemeClr val="bg2"/>
                </a:solidFill>
                <a:effectLst/>
                <a:latin typeface="Segoe UI" panose="020B0502040204020203" pitchFamily="34" charset="0"/>
              </a:rPr>
              <a:t>Monitoring and analytics</a:t>
            </a:r>
            <a:endParaRPr lang="en-US" dirty="0">
              <a:solidFill>
                <a:schemeClr val="bg2"/>
              </a:solidFill>
            </a:endParaRPr>
          </a:p>
        </p:txBody>
      </p:sp>
      <p:sp>
        <p:nvSpPr>
          <p:cNvPr id="5" name="Content Placeholder 4">
            <a:extLst>
              <a:ext uri="{FF2B5EF4-FFF2-40B4-BE49-F238E27FC236}">
                <a16:creationId xmlns:a16="http://schemas.microsoft.com/office/drawing/2014/main" id="{4E538971-1BB0-43A2-A449-67AB8AAB0E27}"/>
              </a:ext>
            </a:extLst>
          </p:cNvPr>
          <p:cNvSpPr>
            <a:spLocks noGrp="1"/>
          </p:cNvSpPr>
          <p:nvPr>
            <p:ph type="subTitle" idx="4294967295"/>
          </p:nvPr>
        </p:nvSpPr>
        <p:spPr>
          <a:xfrm>
            <a:off x="203200" y="733724"/>
            <a:ext cx="11229975" cy="561975"/>
          </a:xfrm>
        </p:spPr>
        <p:txBody>
          <a:bodyPr>
            <a:normAutofit/>
          </a:bodyPr>
          <a:lstStyle/>
          <a:p>
            <a:pPr marL="0" indent="0">
              <a:buNone/>
            </a:pPr>
            <a:r>
              <a:rPr lang="en-US" sz="1600" dirty="0"/>
              <a:t>The anatomy of an incident</a:t>
            </a:r>
          </a:p>
        </p:txBody>
      </p:sp>
      <p:sp>
        <p:nvSpPr>
          <p:cNvPr id="6" name="Rectangle 5">
            <a:extLst>
              <a:ext uri="{FF2B5EF4-FFF2-40B4-BE49-F238E27FC236}">
                <a16:creationId xmlns:a16="http://schemas.microsoft.com/office/drawing/2014/main" id="{FE02719F-E737-4A30-9B59-872F813F10C0}"/>
              </a:ext>
            </a:extLst>
          </p:cNvPr>
          <p:cNvSpPr/>
          <p:nvPr/>
        </p:nvSpPr>
        <p:spPr>
          <a:xfrm>
            <a:off x="631658" y="1275916"/>
            <a:ext cx="5673831" cy="307776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Core monitoring</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	Activity Log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	Cloud Services Health</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	Metrics, diagnostic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nfrastructure monitoring</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a:solidFill>
                  <a:srgbClr val="000000"/>
                </a:solidFill>
                <a:latin typeface="Segoe UI"/>
              </a:rPr>
              <a:t>Application monitoring</a:t>
            </a:r>
            <a:endParaRPr kumimoji="0" lang="en-AU" sz="2400" b="0" i="0" u="none" strike="noStrike" kern="1200" cap="none" spc="0" normalizeH="0" baseline="0" noProof="0">
              <a:ln>
                <a:noFill/>
              </a:ln>
              <a:solidFill>
                <a:srgbClr val="000000"/>
              </a:solidFill>
              <a:effectLst/>
              <a:uLnTx/>
              <a:uFillTx/>
              <a:latin typeface="Segoe UI"/>
              <a:ea typeface="+mn-ea"/>
              <a:cs typeface="+mn-cs"/>
            </a:endParaRPr>
          </a:p>
        </p:txBody>
      </p:sp>
      <p:pic>
        <p:nvPicPr>
          <p:cNvPr id="5122" name="Picture 2" descr="An illustration listing the Azure monitoring and analytics services.">
            <a:extLst>
              <a:ext uri="{FF2B5EF4-FFF2-40B4-BE49-F238E27FC236}">
                <a16:creationId xmlns:a16="http://schemas.microsoft.com/office/drawing/2014/main" id="{A37F55D8-B606-42CF-81DF-98D5784557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4616" y="1084858"/>
            <a:ext cx="2275019" cy="3159749"/>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An illustration showing the role of Log Analytics in resource monitoring.">
            <a:extLst>
              <a:ext uri="{FF2B5EF4-FFF2-40B4-BE49-F238E27FC236}">
                <a16:creationId xmlns:a16="http://schemas.microsoft.com/office/drawing/2014/main" id="{3A9264DC-EACD-483E-9C11-CF88435512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51588" y="4562243"/>
            <a:ext cx="5334259" cy="2295757"/>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A screenshot of the user interface of Azure Application Insights.">
            <a:extLst>
              <a:ext uri="{FF2B5EF4-FFF2-40B4-BE49-F238E27FC236}">
                <a16:creationId xmlns:a16="http://schemas.microsoft.com/office/drawing/2014/main" id="{6EB28317-9E80-4E8C-9FDE-A27CC47498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12383" y="4544741"/>
            <a:ext cx="3562419" cy="23132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6537045"/>
      </p:ext>
    </p:extLst>
  </p:cSld>
  <p:clrMapOvr>
    <a:masterClrMapping/>
  </p:clrMapOvr>
  <p:transition spd="slow">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41E9B-A2DF-43C4-BD7D-01ED8F839CB0}"/>
              </a:ext>
            </a:extLst>
          </p:cNvPr>
          <p:cNvSpPr>
            <a:spLocks noGrp="1"/>
          </p:cNvSpPr>
          <p:nvPr>
            <p:ph type="title"/>
          </p:nvPr>
        </p:nvSpPr>
        <p:spPr/>
        <p:txBody>
          <a:bodyPr/>
          <a:lstStyle/>
          <a:p>
            <a:r>
              <a:rPr lang="en-US" dirty="0"/>
              <a:t>Azure Dashboard for Monitoring</a:t>
            </a:r>
          </a:p>
        </p:txBody>
      </p:sp>
      <p:pic>
        <p:nvPicPr>
          <p:cNvPr id="5" name="Picture 4">
            <a:extLst>
              <a:ext uri="{FF2B5EF4-FFF2-40B4-BE49-F238E27FC236}">
                <a16:creationId xmlns:a16="http://schemas.microsoft.com/office/drawing/2014/main" id="{BE2E78FF-5D90-430C-85D6-A0FAA2E36ADE}"/>
              </a:ext>
            </a:extLst>
          </p:cNvPr>
          <p:cNvPicPr>
            <a:picLocks noChangeAspect="1"/>
          </p:cNvPicPr>
          <p:nvPr/>
        </p:nvPicPr>
        <p:blipFill>
          <a:blip r:embed="rId2"/>
          <a:stretch>
            <a:fillRect/>
          </a:stretch>
        </p:blipFill>
        <p:spPr>
          <a:xfrm>
            <a:off x="3760194" y="1066587"/>
            <a:ext cx="8619919" cy="5825033"/>
          </a:xfrm>
          <a:prstGeom prst="rect">
            <a:avLst/>
          </a:prstGeom>
        </p:spPr>
      </p:pic>
      <p:sp>
        <p:nvSpPr>
          <p:cNvPr id="6" name="Content Placeholder 2">
            <a:extLst>
              <a:ext uri="{FF2B5EF4-FFF2-40B4-BE49-F238E27FC236}">
                <a16:creationId xmlns:a16="http://schemas.microsoft.com/office/drawing/2014/main" id="{8FE58614-563E-45FD-BB14-34F1F2617DBB}"/>
              </a:ext>
            </a:extLst>
          </p:cNvPr>
          <p:cNvSpPr>
            <a:spLocks noGrp="1"/>
          </p:cNvSpPr>
          <p:nvPr>
            <p:ph idx="1"/>
          </p:nvPr>
        </p:nvSpPr>
        <p:spPr>
          <a:xfrm>
            <a:off x="609600" y="1371600"/>
            <a:ext cx="2969059" cy="5486400"/>
          </a:xfrm>
        </p:spPr>
        <p:txBody>
          <a:bodyPr/>
          <a:lstStyle/>
          <a:p>
            <a:r>
              <a:rPr lang="en-IN" dirty="0"/>
              <a:t>Create a custom Dashboard</a:t>
            </a:r>
          </a:p>
          <a:p>
            <a:r>
              <a:rPr lang="en-IN" dirty="0"/>
              <a:t>Funnel all relevant metrics:</a:t>
            </a:r>
          </a:p>
          <a:p>
            <a:pPr lvl="1"/>
            <a:r>
              <a:rPr lang="en-IN" dirty="0"/>
              <a:t>Azure Audit Logs</a:t>
            </a:r>
          </a:p>
          <a:p>
            <a:pPr lvl="1"/>
            <a:r>
              <a:rPr lang="en-IN" dirty="0"/>
              <a:t>Azure Diagnostics</a:t>
            </a:r>
          </a:p>
          <a:p>
            <a:pPr lvl="1"/>
            <a:r>
              <a:rPr lang="en-IN" dirty="0"/>
              <a:t>App Insights</a:t>
            </a:r>
          </a:p>
        </p:txBody>
      </p:sp>
    </p:spTree>
    <p:extLst>
      <p:ext uri="{BB962C8B-B14F-4D97-AF65-F5344CB8AC3E}">
        <p14:creationId xmlns:p14="http://schemas.microsoft.com/office/powerpoint/2010/main" val="2129294067"/>
      </p:ext>
    </p:extLst>
  </p:cSld>
  <p:clrMapOvr>
    <a:masterClrMapping/>
  </p:clrMapOvr>
  <p:transition spd="slow">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F256B-34A6-4BF8-9BE1-DA0F26D2226D}"/>
              </a:ext>
            </a:extLst>
          </p:cNvPr>
          <p:cNvSpPr>
            <a:spLocks noGrp="1"/>
          </p:cNvSpPr>
          <p:nvPr>
            <p:ph type="title"/>
          </p:nvPr>
        </p:nvSpPr>
        <p:spPr/>
        <p:txBody>
          <a:bodyPr/>
          <a:lstStyle/>
          <a:p>
            <a:r>
              <a:rPr lang="en-US" dirty="0"/>
              <a:t>Azure Service Health</a:t>
            </a:r>
          </a:p>
        </p:txBody>
      </p:sp>
      <p:pic>
        <p:nvPicPr>
          <p:cNvPr id="1026" name="Picture 2" descr="Azure status page">
            <a:extLst>
              <a:ext uri="{FF2B5EF4-FFF2-40B4-BE49-F238E27FC236}">
                <a16:creationId xmlns:a16="http://schemas.microsoft.com/office/drawing/2014/main" id="{153B0D9C-1815-4CB9-8B95-A416BFF6E0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200" y="1112215"/>
            <a:ext cx="6754596" cy="48544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AACB7AA-56F1-4AB9-9599-BBF994176947}"/>
              </a:ext>
            </a:extLst>
          </p:cNvPr>
          <p:cNvPicPr>
            <a:picLocks noChangeAspect="1"/>
          </p:cNvPicPr>
          <p:nvPr/>
        </p:nvPicPr>
        <p:blipFill>
          <a:blip r:embed="rId3"/>
          <a:stretch>
            <a:fillRect/>
          </a:stretch>
        </p:blipFill>
        <p:spPr>
          <a:xfrm>
            <a:off x="1710388" y="1353643"/>
            <a:ext cx="6273882" cy="5351956"/>
          </a:xfrm>
          <a:prstGeom prst="rect">
            <a:avLst/>
          </a:prstGeom>
        </p:spPr>
      </p:pic>
      <p:pic>
        <p:nvPicPr>
          <p:cNvPr id="6" name="Picture 5">
            <a:extLst>
              <a:ext uri="{FF2B5EF4-FFF2-40B4-BE49-F238E27FC236}">
                <a16:creationId xmlns:a16="http://schemas.microsoft.com/office/drawing/2014/main" id="{034895F7-E47B-4130-9162-62DBEB39E397}"/>
              </a:ext>
            </a:extLst>
          </p:cNvPr>
          <p:cNvPicPr>
            <a:picLocks noChangeAspect="1"/>
          </p:cNvPicPr>
          <p:nvPr/>
        </p:nvPicPr>
        <p:blipFill>
          <a:blip r:embed="rId4"/>
          <a:stretch>
            <a:fillRect/>
          </a:stretch>
        </p:blipFill>
        <p:spPr>
          <a:xfrm>
            <a:off x="8266193" y="1989518"/>
            <a:ext cx="3141387" cy="4641073"/>
          </a:xfrm>
          <a:prstGeom prst="rect">
            <a:avLst/>
          </a:prstGeom>
        </p:spPr>
      </p:pic>
    </p:spTree>
    <p:extLst>
      <p:ext uri="{BB962C8B-B14F-4D97-AF65-F5344CB8AC3E}">
        <p14:creationId xmlns:p14="http://schemas.microsoft.com/office/powerpoint/2010/main" val="151436947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678A9-14AA-48A8-96E5-58BE4BA9C1C7}"/>
              </a:ext>
            </a:extLst>
          </p:cNvPr>
          <p:cNvSpPr>
            <a:spLocks noGrp="1"/>
          </p:cNvSpPr>
          <p:nvPr>
            <p:ph type="title"/>
          </p:nvPr>
        </p:nvSpPr>
        <p:spPr/>
        <p:txBody>
          <a:bodyPr/>
          <a:lstStyle/>
          <a:p>
            <a:r>
              <a:rPr lang="en-IN" dirty="0"/>
              <a:t>Manual Response to failures</a:t>
            </a:r>
          </a:p>
        </p:txBody>
      </p:sp>
      <p:sp>
        <p:nvSpPr>
          <p:cNvPr id="3" name="Text Placeholder 2">
            <a:extLst>
              <a:ext uri="{FF2B5EF4-FFF2-40B4-BE49-F238E27FC236}">
                <a16:creationId xmlns:a16="http://schemas.microsoft.com/office/drawing/2014/main" id="{1E5F2CFC-1DF9-40FA-9EC3-76E099424E0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87004213"/>
      </p:ext>
    </p:extLst>
  </p:cSld>
  <p:clrMapOvr>
    <a:masterClrMapping/>
  </p:clrMapOvr>
  <p:transition spd="slow">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CBDA0-F826-4D95-AB9C-37A7FA6E2B04}"/>
              </a:ext>
            </a:extLst>
          </p:cNvPr>
          <p:cNvSpPr>
            <a:spLocks noGrp="1"/>
          </p:cNvSpPr>
          <p:nvPr>
            <p:ph type="title"/>
          </p:nvPr>
        </p:nvSpPr>
        <p:spPr/>
        <p:txBody>
          <a:bodyPr/>
          <a:lstStyle/>
          <a:p>
            <a:r>
              <a:rPr lang="en-IN" dirty="0"/>
              <a:t>Manual failure responses</a:t>
            </a:r>
          </a:p>
        </p:txBody>
      </p:sp>
      <p:sp>
        <p:nvSpPr>
          <p:cNvPr id="3" name="Content Placeholder 2">
            <a:extLst>
              <a:ext uri="{FF2B5EF4-FFF2-40B4-BE49-F238E27FC236}">
                <a16:creationId xmlns:a16="http://schemas.microsoft.com/office/drawing/2014/main" id="{3F9D17A8-305E-42EC-B819-9FFDCE44BEEC}"/>
              </a:ext>
            </a:extLst>
          </p:cNvPr>
          <p:cNvSpPr>
            <a:spLocks noGrp="1"/>
          </p:cNvSpPr>
          <p:nvPr>
            <p:ph idx="1"/>
          </p:nvPr>
        </p:nvSpPr>
        <p:spPr/>
        <p:txBody>
          <a:bodyPr/>
          <a:lstStyle/>
          <a:p>
            <a:r>
              <a:rPr lang="en-IN" dirty="0"/>
              <a:t>Alerts</a:t>
            </a:r>
          </a:p>
          <a:p>
            <a:r>
              <a:rPr lang="en-IN" dirty="0"/>
              <a:t>Manual Failover</a:t>
            </a:r>
          </a:p>
          <a:p>
            <a:r>
              <a:rPr lang="en-IN" dirty="0"/>
              <a:t>Operational readiness testing</a:t>
            </a:r>
          </a:p>
          <a:p>
            <a:r>
              <a:rPr lang="en-IN" dirty="0"/>
              <a:t>Data consistency check</a:t>
            </a:r>
          </a:p>
          <a:p>
            <a:r>
              <a:rPr lang="en-IN" dirty="0"/>
              <a:t>Restoring from backup</a:t>
            </a:r>
          </a:p>
        </p:txBody>
      </p:sp>
    </p:spTree>
    <p:extLst>
      <p:ext uri="{BB962C8B-B14F-4D97-AF65-F5344CB8AC3E}">
        <p14:creationId xmlns:p14="http://schemas.microsoft.com/office/powerpoint/2010/main" val="2960190396"/>
      </p:ext>
    </p:extLst>
  </p:cSld>
  <p:clrMapOvr>
    <a:masterClrMapping/>
  </p:clrMapOvr>
  <p:transition spd="slow">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0F30D-42A3-411E-BF63-FA609228243F}"/>
              </a:ext>
            </a:extLst>
          </p:cNvPr>
          <p:cNvSpPr>
            <a:spLocks noGrp="1"/>
          </p:cNvSpPr>
          <p:nvPr>
            <p:ph type="title"/>
          </p:nvPr>
        </p:nvSpPr>
        <p:spPr/>
        <p:txBody>
          <a:bodyPr/>
          <a:lstStyle/>
          <a:p>
            <a:r>
              <a:rPr lang="en-IN" dirty="0"/>
              <a:t>Summary</a:t>
            </a:r>
          </a:p>
        </p:txBody>
      </p:sp>
      <p:sp>
        <p:nvSpPr>
          <p:cNvPr id="3" name="Content Placeholder 2">
            <a:extLst>
              <a:ext uri="{FF2B5EF4-FFF2-40B4-BE49-F238E27FC236}">
                <a16:creationId xmlns:a16="http://schemas.microsoft.com/office/drawing/2014/main" id="{976E4770-A26B-48D4-AD50-3ADC4743FFFF}"/>
              </a:ext>
            </a:extLst>
          </p:cNvPr>
          <p:cNvSpPr>
            <a:spLocks noGrp="1"/>
          </p:cNvSpPr>
          <p:nvPr>
            <p:ph idx="1"/>
          </p:nvPr>
        </p:nvSpPr>
        <p:spPr/>
        <p:txBody>
          <a:bodyPr/>
          <a:lstStyle/>
          <a:p>
            <a:r>
              <a:rPr lang="en-IN" dirty="0"/>
              <a:t>Resilience leads to higher availability and lower mean time to recover from failures.</a:t>
            </a:r>
          </a:p>
          <a:p>
            <a:r>
              <a:rPr lang="en-IN" dirty="0"/>
              <a:t>Achieving resilience in the cloud requires a different set of techniques from traditional on-premises solutions.</a:t>
            </a:r>
          </a:p>
          <a:p>
            <a:r>
              <a:rPr lang="en-IN" dirty="0"/>
              <a:t>Resilience does not happen by accident. It must be designed and built in from the start. </a:t>
            </a:r>
          </a:p>
          <a:p>
            <a:r>
              <a:rPr lang="en-IN" dirty="0"/>
              <a:t>Resilience touches every part of the application lifecycle, from planning and coding to operations. </a:t>
            </a:r>
          </a:p>
          <a:p>
            <a:r>
              <a:rPr lang="en-IN" dirty="0"/>
              <a:t>Test and monitor.</a:t>
            </a:r>
          </a:p>
        </p:txBody>
      </p:sp>
    </p:spTree>
    <p:extLst>
      <p:ext uri="{BB962C8B-B14F-4D97-AF65-F5344CB8AC3E}">
        <p14:creationId xmlns:p14="http://schemas.microsoft.com/office/powerpoint/2010/main" val="2747497660"/>
      </p:ext>
    </p:extLst>
  </p:cSld>
  <p:clrMapOvr>
    <a:masterClrMapping/>
  </p:clrMapOvr>
  <p:transition spd="slow">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82D2-B21F-4188-B126-6E0E06005C88}"/>
              </a:ext>
            </a:extLst>
          </p:cNvPr>
          <p:cNvSpPr>
            <a:spLocks noGrp="1"/>
          </p:cNvSpPr>
          <p:nvPr>
            <p:ph type="title"/>
          </p:nvPr>
        </p:nvSpPr>
        <p:spPr/>
        <p:txBody>
          <a:bodyPr>
            <a:normAutofit/>
          </a:bodyPr>
          <a:lstStyle/>
          <a:p>
            <a:r>
              <a:rPr lang="en-US" b="1" i="0" dirty="0">
                <a:solidFill>
                  <a:schemeClr val="bg2"/>
                </a:solidFill>
                <a:effectLst/>
                <a:latin typeface="Segoe UI" panose="020B0502040204020203" pitchFamily="34" charset="0"/>
              </a:rPr>
              <a:t>Discussion</a:t>
            </a:r>
            <a:endParaRPr lang="en-US" dirty="0">
              <a:solidFill>
                <a:schemeClr val="bg2"/>
              </a:solidFill>
            </a:endParaRPr>
          </a:p>
        </p:txBody>
      </p:sp>
      <p:sp>
        <p:nvSpPr>
          <p:cNvPr id="6" name="Rectangle 5">
            <a:extLst>
              <a:ext uri="{FF2B5EF4-FFF2-40B4-BE49-F238E27FC236}">
                <a16:creationId xmlns:a16="http://schemas.microsoft.com/office/drawing/2014/main" id="{FE02719F-E737-4A30-9B59-872F813F10C0}"/>
              </a:ext>
            </a:extLst>
          </p:cNvPr>
          <p:cNvSpPr/>
          <p:nvPr/>
        </p:nvSpPr>
        <p:spPr>
          <a:xfrm>
            <a:off x="631655" y="1275916"/>
            <a:ext cx="5061424" cy="520142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My customer has a N-Tier solution in Azure, used by thousands of external users</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400" dirty="0">
                <a:solidFill>
                  <a:srgbClr val="000000"/>
                </a:solidFill>
                <a:latin typeface="Segoe UI"/>
              </a:rPr>
              <a:t>	</a:t>
            </a:r>
            <a:r>
              <a:rPr lang="en-US" sz="2000" dirty="0">
                <a:solidFill>
                  <a:srgbClr val="000000"/>
                </a:solidFill>
                <a:latin typeface="Segoe UI"/>
              </a:rPr>
              <a:t>4 VMs (IIS, .NET) for the frontend; App Gateway in front of them; reserved IP address</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000" dirty="0">
                <a:solidFill>
                  <a:srgbClr val="000000"/>
                </a:solidFill>
                <a:latin typeface="Segoe UI"/>
              </a:rPr>
              <a:t>	SQL Database Premium</a:t>
            </a:r>
          </a:p>
          <a:p>
            <a:pPr marL="0" marR="0" lvl="0" indent="0" algn="l" defTabSz="914367" rtl="0" eaLnBrk="1" fontAlgn="auto" latinLnBrk="0" hangingPunct="1">
              <a:lnSpc>
                <a:spcPct val="100000"/>
              </a:lnSpc>
              <a:spcBef>
                <a:spcPts val="0"/>
              </a:spcBef>
              <a:spcAft>
                <a:spcPts val="1200"/>
              </a:spcAft>
              <a:buClrTx/>
              <a:buSzTx/>
              <a:buFontTx/>
              <a:buNone/>
              <a:tabLst/>
              <a:defRPr/>
            </a:pPr>
            <a:r>
              <a:rPr lang="en-US" sz="2000" dirty="0">
                <a:solidFill>
                  <a:srgbClr val="000000"/>
                </a:solidFill>
                <a:latin typeface="Segoe UI"/>
              </a:rPr>
              <a:t>	Log Analytics, Storage Account (images, app logs, etc.)</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hey are bought by another company and all resources have to be moved to another Azure tenant. Design the process.</a:t>
            </a:r>
          </a:p>
        </p:txBody>
      </p:sp>
      <p:sp>
        <p:nvSpPr>
          <p:cNvPr id="7" name="Rectangle 6">
            <a:extLst>
              <a:ext uri="{FF2B5EF4-FFF2-40B4-BE49-F238E27FC236}">
                <a16:creationId xmlns:a16="http://schemas.microsoft.com/office/drawing/2014/main" id="{85F31D81-A48E-4EA6-BB2B-8D1512ADD9B0}"/>
              </a:ext>
            </a:extLst>
          </p:cNvPr>
          <p:cNvSpPr/>
          <p:nvPr/>
        </p:nvSpPr>
        <p:spPr>
          <a:xfrm>
            <a:off x="6104350" y="1275916"/>
            <a:ext cx="5455995" cy="5847755"/>
          </a:xfrm>
          <a:prstGeom prst="rect">
            <a:avLst/>
          </a:prstGeom>
          <a:solidFill>
            <a:schemeClr val="bg1"/>
          </a:solidFill>
        </p:spPr>
        <p:txBody>
          <a:bodyPr wrap="square">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2000" dirty="0">
                <a:latin typeface="Segoe UI"/>
              </a:rPr>
              <a:t>Migration Process:</a:t>
            </a:r>
          </a:p>
          <a:p>
            <a:pPr marL="285750" marR="0" lvl="0" indent="-28575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a:ea typeface="+mn-ea"/>
                <a:cs typeface="+mn-cs"/>
              </a:rPr>
              <a:t>New Tenant / Subscriptions / Landing Zone</a:t>
            </a:r>
          </a:p>
          <a:p>
            <a:pPr marL="742950" lvl="1" indent="-285750" defTabSz="914367">
              <a:spcAft>
                <a:spcPts val="1200"/>
              </a:spcAft>
              <a:buFont typeface="Arial" panose="020B0604020202020204" pitchFamily="34" charset="0"/>
              <a:buChar char="•"/>
              <a:defRPr/>
            </a:pPr>
            <a:r>
              <a:rPr lang="en-US" sz="1600" dirty="0">
                <a:latin typeface="Segoe UI"/>
              </a:rPr>
              <a:t>RBAC, Policies, Quotas</a:t>
            </a:r>
          </a:p>
          <a:p>
            <a:pPr marL="285750" indent="-285750" defTabSz="914367">
              <a:spcAft>
                <a:spcPts val="1200"/>
              </a:spcAft>
              <a:buFont typeface="Arial" panose="020B0604020202020204" pitchFamily="34" charset="0"/>
              <a:buChar char="•"/>
              <a:defRPr/>
            </a:pPr>
            <a:r>
              <a:rPr kumimoji="0" lang="en-US" sz="1600" b="0" i="0" u="none" strike="noStrike" kern="1200" cap="none" spc="0" normalizeH="0" baseline="0" noProof="0" dirty="0">
                <a:ln>
                  <a:noFill/>
                </a:ln>
                <a:effectLst/>
                <a:uLnTx/>
                <a:uFillTx/>
                <a:latin typeface="Segoe UI"/>
                <a:ea typeface="+mn-ea"/>
                <a:cs typeface="+mn-cs"/>
              </a:rPr>
              <a:t>Inventory of Resources to be “Moved”</a:t>
            </a:r>
          </a:p>
          <a:p>
            <a:pPr marL="742950" lvl="1" indent="-285750" defTabSz="914367">
              <a:spcAft>
                <a:spcPts val="1200"/>
              </a:spcAft>
              <a:buFont typeface="Arial" panose="020B0604020202020204" pitchFamily="34" charset="0"/>
              <a:buChar char="•"/>
              <a:defRPr/>
            </a:pPr>
            <a:r>
              <a:rPr lang="en-US" sz="1600" dirty="0">
                <a:latin typeface="Segoe UI"/>
              </a:rPr>
              <a:t>Resources to be recreated: IP, Log Analytics, Storage Acc</a:t>
            </a:r>
          </a:p>
          <a:p>
            <a:pPr marL="285750" indent="-285750" defTabSz="914367">
              <a:spcAft>
                <a:spcPts val="1200"/>
              </a:spcAft>
              <a:buFont typeface="Arial" panose="020B0604020202020204" pitchFamily="34" charset="0"/>
              <a:buChar char="•"/>
              <a:defRPr/>
            </a:pPr>
            <a:r>
              <a:rPr kumimoji="0" lang="en-US" sz="1600" b="0" i="0" u="none" strike="noStrike" kern="1200" cap="none" spc="0" normalizeH="0" baseline="0" noProof="0" dirty="0">
                <a:ln>
                  <a:noFill/>
                </a:ln>
                <a:effectLst/>
                <a:uLnTx/>
                <a:uFillTx/>
                <a:latin typeface="Segoe UI"/>
                <a:ea typeface="+mn-ea"/>
                <a:cs typeface="+mn-cs"/>
              </a:rPr>
              <a:t>SRE / Customer</a:t>
            </a:r>
            <a:r>
              <a:rPr lang="en-US" sz="1600" dirty="0">
                <a:latin typeface="Segoe UI"/>
              </a:rPr>
              <a:t>s: Downtime / RTO / RPO</a:t>
            </a:r>
          </a:p>
          <a:p>
            <a:pPr marL="285750" indent="-285750" defTabSz="914367">
              <a:spcAft>
                <a:spcPts val="1200"/>
              </a:spcAft>
              <a:buFont typeface="Arial" panose="020B0604020202020204" pitchFamily="34" charset="0"/>
              <a:buChar char="•"/>
              <a:defRPr/>
            </a:pPr>
            <a:r>
              <a:rPr kumimoji="0" lang="en-US" sz="1600" b="0" i="0" u="none" strike="noStrike" kern="1200" cap="none" spc="0" normalizeH="0" baseline="0" noProof="0" dirty="0">
                <a:ln>
                  <a:noFill/>
                </a:ln>
                <a:effectLst/>
                <a:uLnTx/>
                <a:uFillTx/>
                <a:latin typeface="Segoe UI"/>
                <a:ea typeface="+mn-ea"/>
                <a:cs typeface="+mn-cs"/>
              </a:rPr>
              <a:t>Devs</a:t>
            </a:r>
            <a:r>
              <a:rPr lang="en-US" sz="1600" dirty="0">
                <a:latin typeface="Segoe UI"/>
              </a:rPr>
              <a:t>/Testers/Internal: CI/CD, scripts -&gt;”downtime”</a:t>
            </a:r>
          </a:p>
          <a:p>
            <a:pPr marL="285750" indent="-285750" defTabSz="914367">
              <a:spcAft>
                <a:spcPts val="1200"/>
              </a:spcAft>
              <a:buFont typeface="Arial" panose="020B0604020202020204" pitchFamily="34" charset="0"/>
              <a:buChar char="•"/>
              <a:defRPr/>
            </a:pPr>
            <a:r>
              <a:rPr kumimoji="0" lang="en-US" sz="1600" b="0" i="0" u="none" strike="noStrike" kern="1200" cap="none" spc="0" normalizeH="0" baseline="0" noProof="0">
                <a:ln>
                  <a:noFill/>
                </a:ln>
                <a:effectLst/>
                <a:uLnTx/>
                <a:uFillTx/>
                <a:latin typeface="Segoe UI"/>
                <a:ea typeface="+mn-ea"/>
                <a:cs typeface="+mn-cs"/>
              </a:rPr>
              <a:t>Prepare everything</a:t>
            </a:r>
          </a:p>
          <a:p>
            <a:pPr marL="285750" indent="-285750" defTabSz="914367">
              <a:spcAft>
                <a:spcPts val="1200"/>
              </a:spcAft>
              <a:buFont typeface="Arial" panose="020B0604020202020204" pitchFamily="34" charset="0"/>
              <a:buChar char="•"/>
              <a:defRPr/>
            </a:pPr>
            <a:r>
              <a:rPr kumimoji="0" lang="en-US" sz="1600" b="0" i="0" u="none" strike="noStrike" kern="1200" cap="none" spc="0" normalizeH="0" baseline="0" noProof="0" dirty="0">
                <a:ln>
                  <a:noFill/>
                </a:ln>
                <a:effectLst/>
                <a:uLnTx/>
                <a:uFillTx/>
                <a:latin typeface="Segoe UI"/>
                <a:ea typeface="+mn-ea"/>
                <a:cs typeface="+mn-cs"/>
              </a:rPr>
              <a:t>“big bang”</a:t>
            </a:r>
          </a:p>
          <a:p>
            <a:pPr marL="285750" indent="-285750" defTabSz="914367">
              <a:spcAft>
                <a:spcPts val="1200"/>
              </a:spcAft>
              <a:buFont typeface="Arial" panose="020B0604020202020204" pitchFamily="34" charset="0"/>
              <a:buChar char="•"/>
              <a:defRPr/>
            </a:pPr>
            <a:r>
              <a:rPr lang="en-US" sz="1600" dirty="0">
                <a:latin typeface="Segoe UI"/>
              </a:rPr>
              <a:t>Validation</a:t>
            </a:r>
          </a:p>
          <a:p>
            <a:pPr marL="742950" lvl="1" indent="-285750" defTabSz="914367">
              <a:spcAft>
                <a:spcPts val="1200"/>
              </a:spcAft>
              <a:buFont typeface="Arial" panose="020B0604020202020204" pitchFamily="34" charset="0"/>
              <a:buChar char="•"/>
              <a:defRPr/>
            </a:pPr>
            <a:r>
              <a:rPr kumimoji="0" lang="en-US" sz="1600" b="0" i="0" u="none" strike="noStrike" kern="1200" cap="none" spc="0" normalizeH="0" baseline="0" noProof="0" dirty="0">
                <a:ln>
                  <a:noFill/>
                </a:ln>
                <a:effectLst/>
                <a:uLnTx/>
                <a:uFillTx/>
                <a:latin typeface="Segoe UI"/>
                <a:ea typeface="+mn-ea"/>
                <a:cs typeface="+mn-cs"/>
              </a:rPr>
              <a:t>Resources moved</a:t>
            </a:r>
          </a:p>
          <a:p>
            <a:pPr marL="742950" lvl="1" indent="-285750" defTabSz="914367">
              <a:spcAft>
                <a:spcPts val="1200"/>
              </a:spcAft>
              <a:buFont typeface="Arial" panose="020B0604020202020204" pitchFamily="34" charset="0"/>
              <a:buChar char="•"/>
              <a:defRPr/>
            </a:pPr>
            <a:r>
              <a:rPr kumimoji="0" lang="en-US" sz="1600" b="0" i="0" u="none" strike="noStrike" kern="1200" cap="none" spc="0" normalizeH="0" baseline="0" noProof="0" dirty="0">
                <a:ln>
                  <a:noFill/>
                </a:ln>
                <a:effectLst/>
                <a:uLnTx/>
                <a:uFillTx/>
                <a:latin typeface="Segoe UI"/>
                <a:ea typeface="+mn-ea"/>
                <a:cs typeface="+mn-cs"/>
              </a:rPr>
              <a:t>App-level</a:t>
            </a:r>
          </a:p>
          <a:p>
            <a:pPr marL="285750" indent="-285750" defTabSz="914367">
              <a:spcAft>
                <a:spcPts val="1200"/>
              </a:spcAft>
              <a:buFont typeface="Arial" panose="020B0604020202020204" pitchFamily="34" charset="0"/>
              <a:buChar char="•"/>
              <a:defRPr/>
            </a:pPr>
            <a:r>
              <a:rPr lang="en-US" sz="1600" dirty="0">
                <a:latin typeface="Segoe UI"/>
              </a:rPr>
              <a:t>Cleanup</a:t>
            </a:r>
            <a:endParaRPr kumimoji="0" lang="en-US" sz="1600" b="0" i="0" u="none" strike="noStrike" kern="1200" cap="none" spc="0" normalizeH="0" baseline="0" noProof="0" dirty="0">
              <a:ln>
                <a:noFill/>
              </a:ln>
              <a:effectLst/>
              <a:uLnTx/>
              <a:uFillTx/>
              <a:latin typeface="Segoe UI"/>
              <a:ea typeface="+mn-ea"/>
              <a:cs typeface="+mn-cs"/>
            </a:endParaRPr>
          </a:p>
          <a:p>
            <a:pPr marL="742950" lvl="1" indent="-285750" defTabSz="914367">
              <a:spcAft>
                <a:spcPts val="1200"/>
              </a:spcAft>
              <a:buFont typeface="Arial" panose="020B0604020202020204" pitchFamily="34" charset="0"/>
              <a:buChar char="•"/>
              <a:defRPr/>
            </a:pPr>
            <a:endParaRPr kumimoji="0" lang="en-US" sz="1600" b="0" i="0" u="none" strike="noStrike" kern="1200" cap="none" spc="0" normalizeH="0" baseline="0" noProof="0" dirty="0">
              <a:ln>
                <a:noFill/>
              </a:ln>
              <a:effectLst/>
              <a:uLnTx/>
              <a:uFillTx/>
              <a:latin typeface="Segoe UI"/>
              <a:ea typeface="+mn-ea"/>
              <a:cs typeface="+mn-cs"/>
            </a:endParaRPr>
          </a:p>
        </p:txBody>
      </p:sp>
    </p:spTree>
    <p:extLst>
      <p:ext uri="{BB962C8B-B14F-4D97-AF65-F5344CB8AC3E}">
        <p14:creationId xmlns:p14="http://schemas.microsoft.com/office/powerpoint/2010/main" val="1058161775"/>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34B92899-BA79-4AF5-81FA-1297FF6E69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0335" y="52387"/>
            <a:ext cx="3400425" cy="6753225"/>
          </a:xfrm>
          <a:prstGeom prst="rect">
            <a:avLst/>
          </a:prstGeom>
        </p:spPr>
      </p:pic>
      <p:pic>
        <p:nvPicPr>
          <p:cNvPr id="2" name="Picture 1">
            <a:extLst>
              <a:ext uri="{FF2B5EF4-FFF2-40B4-BE49-F238E27FC236}">
                <a16:creationId xmlns:a16="http://schemas.microsoft.com/office/drawing/2014/main" id="{D591F28E-FB4A-407C-83E3-758310A16A3A}"/>
              </a:ext>
            </a:extLst>
          </p:cNvPr>
          <p:cNvPicPr>
            <a:picLocks noChangeAspect="1"/>
          </p:cNvPicPr>
          <p:nvPr/>
        </p:nvPicPr>
        <p:blipFill>
          <a:blip r:embed="rId5"/>
          <a:stretch>
            <a:fillRect/>
          </a:stretch>
        </p:blipFill>
        <p:spPr>
          <a:xfrm>
            <a:off x="6762750" y="1171575"/>
            <a:ext cx="5429250" cy="4514850"/>
          </a:xfrm>
          <a:prstGeom prst="rect">
            <a:avLst/>
          </a:prstGeom>
        </p:spPr>
      </p:pic>
      <p:sp>
        <p:nvSpPr>
          <p:cNvPr id="12" name="Text Placeholder 13">
            <a:extLst>
              <a:ext uri="{FF2B5EF4-FFF2-40B4-BE49-F238E27FC236}">
                <a16:creationId xmlns:a16="http://schemas.microsoft.com/office/drawing/2014/main" id="{7B411254-5297-4193-874A-E0D6315F570C}"/>
              </a:ext>
            </a:extLst>
          </p:cNvPr>
          <p:cNvSpPr txBox="1">
            <a:spLocks/>
          </p:cNvSpPr>
          <p:nvPr/>
        </p:nvSpPr>
        <p:spPr>
          <a:xfrm>
            <a:off x="890560" y="1349775"/>
            <a:ext cx="5041169" cy="64276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solidFill>
                  <a:schemeClr val="bg1"/>
                </a:solidFill>
                <a:latin typeface="Segoe UI Semibold"/>
                <a:cs typeface="Segoe UI Semibold"/>
              </a:rPr>
              <a:t>Documentation</a:t>
            </a:r>
            <a:endParaRPr lang="en-US">
              <a:solidFill>
                <a:schemeClr val="bg1"/>
              </a:solidFill>
              <a:latin typeface="Segoe UI Semibold" panose="020B0702040204020203" pitchFamily="34" charset="0"/>
              <a:cs typeface="Segoe UI Semibold" panose="020B0702040204020203" pitchFamily="34" charset="0"/>
            </a:endParaRPr>
          </a:p>
        </p:txBody>
      </p:sp>
      <p:sp>
        <p:nvSpPr>
          <p:cNvPr id="13" name="Text Placeholder 5">
            <a:extLst>
              <a:ext uri="{FF2B5EF4-FFF2-40B4-BE49-F238E27FC236}">
                <a16:creationId xmlns:a16="http://schemas.microsoft.com/office/drawing/2014/main" id="{90FE220F-A5AC-4DFC-B86A-70001CCEED1D}"/>
              </a:ext>
            </a:extLst>
          </p:cNvPr>
          <p:cNvSpPr txBox="1">
            <a:spLocks/>
          </p:cNvSpPr>
          <p:nvPr/>
        </p:nvSpPr>
        <p:spPr>
          <a:xfrm>
            <a:off x="890560" y="1858955"/>
            <a:ext cx="6022858" cy="739335"/>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dirty="0">
                <a:solidFill>
                  <a:schemeClr val="bg1"/>
                </a:solidFill>
                <a:latin typeface="Segoe UI "/>
              </a:rPr>
              <a:t>Microsoft Azure      Well-Architected Framework</a:t>
            </a:r>
          </a:p>
        </p:txBody>
      </p:sp>
      <p:sp>
        <p:nvSpPr>
          <p:cNvPr id="10" name="Text Placeholder 6">
            <a:extLst>
              <a:ext uri="{FF2B5EF4-FFF2-40B4-BE49-F238E27FC236}">
                <a16:creationId xmlns:a16="http://schemas.microsoft.com/office/drawing/2014/main" id="{5C33FA58-9418-435C-A285-BCE2EE476AEF}"/>
              </a:ext>
            </a:extLst>
          </p:cNvPr>
          <p:cNvSpPr txBox="1">
            <a:spLocks/>
          </p:cNvSpPr>
          <p:nvPr/>
        </p:nvSpPr>
        <p:spPr>
          <a:xfrm>
            <a:off x="890560" y="3718193"/>
            <a:ext cx="5957413" cy="2706798"/>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200" dirty="0">
              <a:solidFill>
                <a:schemeClr val="bg1"/>
              </a:solidFill>
              <a:latin typeface="Segoe UI" panose="020B0502040204020203" pitchFamily="34" charset="0"/>
              <a:hlinkClick r:id="rId6">
                <a:extLst>
                  <a:ext uri="{A12FA001-AC4F-418D-AE19-62706E023703}">
                    <ahyp:hlinkClr xmlns:ahyp="http://schemas.microsoft.com/office/drawing/2018/hyperlinkcolor" val="tx"/>
                  </a:ext>
                </a:extLst>
              </a:hlinkClick>
            </a:endParaRPr>
          </a:p>
          <a:p>
            <a:pPr marL="0" indent="0">
              <a:buNone/>
            </a:pPr>
            <a:endParaRPr lang="en-US" sz="1200" dirty="0">
              <a:solidFill>
                <a:schemeClr val="bg1"/>
              </a:solidFill>
              <a:latin typeface="Segoe UI" panose="020B0502040204020203" pitchFamily="34" charset="0"/>
              <a:hlinkClick r:id="rId6">
                <a:extLst>
                  <a:ext uri="{A12FA001-AC4F-418D-AE19-62706E023703}">
                    <ahyp:hlinkClr xmlns:ahyp="http://schemas.microsoft.com/office/drawing/2018/hyperlinkcolor" val="tx"/>
                  </a:ext>
                </a:extLst>
              </a:hlinkClick>
            </a:endParaRPr>
          </a:p>
          <a:p>
            <a:pPr marL="0" indent="0">
              <a:buNone/>
            </a:pPr>
            <a:r>
              <a:rPr lang="en-US" dirty="0">
                <a:solidFill>
                  <a:schemeClr val="bg1"/>
                </a:solidFill>
                <a:hlinkClick r:id="rId7">
                  <a:extLst>
                    <a:ext uri="{A12FA001-AC4F-418D-AE19-62706E023703}">
                      <ahyp:hlinkClr xmlns:ahyp="http://schemas.microsoft.com/office/drawing/2018/hyperlinkcolor" val="tx"/>
                    </a:ext>
                  </a:extLst>
                </a:hlinkClick>
              </a:rPr>
              <a:t>https://aka</a:t>
            </a:r>
            <a:r>
              <a:rPr lang="en-US" b="0" i="0" dirty="0">
                <a:solidFill>
                  <a:schemeClr val="bg1"/>
                </a:solidFill>
                <a:effectLst/>
                <a:hlinkClick r:id="rId7">
                  <a:extLst>
                    <a:ext uri="{A12FA001-AC4F-418D-AE19-62706E023703}">
                      <ahyp:hlinkClr xmlns:ahyp="http://schemas.microsoft.com/office/drawing/2018/hyperlinkcolor" val="tx"/>
                    </a:ext>
                  </a:extLst>
                </a:hlinkClick>
              </a:rPr>
              <a:t>.ms/architecture/f</a:t>
            </a:r>
            <a:r>
              <a:rPr lang="en-US" dirty="0">
                <a:solidFill>
                  <a:schemeClr val="bg1"/>
                </a:solidFill>
                <a:hlinkClick r:id="rId7">
                  <a:extLst>
                    <a:ext uri="{A12FA001-AC4F-418D-AE19-62706E023703}">
                      <ahyp:hlinkClr xmlns:ahyp="http://schemas.microsoft.com/office/drawing/2018/hyperlinkcolor" val="tx"/>
                    </a:ext>
                  </a:extLst>
                </a:hlinkClick>
              </a:rPr>
              <a:t>ramework</a:t>
            </a:r>
            <a:r>
              <a:rPr lang="en-US" dirty="0">
                <a:solidFill>
                  <a:schemeClr val="bg1"/>
                </a:solidFill>
              </a:rPr>
              <a:t> </a:t>
            </a:r>
            <a:endParaRPr lang="en-US" b="0" i="0" dirty="0">
              <a:solidFill>
                <a:schemeClr val="bg1"/>
              </a:solidFill>
              <a:effectLst/>
              <a:cs typeface="Calibri"/>
            </a:endParaRPr>
          </a:p>
          <a:p>
            <a:pPr marL="0" indent="0">
              <a:buNone/>
            </a:pPr>
            <a:endParaRPr lang="en-US" dirty="0">
              <a:solidFill>
                <a:schemeClr val="bg1"/>
              </a:solidFill>
              <a:cs typeface="Calibri"/>
            </a:endParaRPr>
          </a:p>
          <a:p>
            <a:pPr marL="0" indent="0">
              <a:buNone/>
            </a:pPr>
            <a:endParaRPr lang="en-US" dirty="0">
              <a:solidFill>
                <a:schemeClr val="bg1"/>
              </a:solidFill>
              <a:cs typeface="Calibri"/>
            </a:endParaRPr>
          </a:p>
        </p:txBody>
      </p:sp>
      <p:sp>
        <p:nvSpPr>
          <p:cNvPr id="6" name="Rectangle 5">
            <a:extLst>
              <a:ext uri="{FF2B5EF4-FFF2-40B4-BE49-F238E27FC236}">
                <a16:creationId xmlns:a16="http://schemas.microsoft.com/office/drawing/2014/main" id="{10BAAF6A-92B1-4862-8D2A-0B0E77AE6247}"/>
              </a:ext>
            </a:extLst>
          </p:cNvPr>
          <p:cNvSpPr/>
          <p:nvPr/>
        </p:nvSpPr>
        <p:spPr>
          <a:xfrm>
            <a:off x="7631582" y="1349775"/>
            <a:ext cx="4560417" cy="340510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5" name="Picture 4">
            <a:extLst>
              <a:ext uri="{FF2B5EF4-FFF2-40B4-BE49-F238E27FC236}">
                <a16:creationId xmlns:a16="http://schemas.microsoft.com/office/drawing/2014/main" id="{41D4EF64-1EA1-4521-BAE5-DCB2135E91BB}"/>
              </a:ext>
            </a:extLst>
          </p:cNvPr>
          <p:cNvPicPr>
            <a:picLocks noChangeAspect="1"/>
          </p:cNvPicPr>
          <p:nvPr/>
        </p:nvPicPr>
        <p:blipFill>
          <a:blip r:embed="rId8"/>
          <a:stretch>
            <a:fillRect/>
          </a:stretch>
        </p:blipFill>
        <p:spPr>
          <a:xfrm>
            <a:off x="7624899" y="1349775"/>
            <a:ext cx="4542096" cy="3457634"/>
          </a:xfrm>
          <a:prstGeom prst="rect">
            <a:avLst/>
          </a:prstGeom>
        </p:spPr>
      </p:pic>
    </p:spTree>
    <p:extLst>
      <p:ext uri="{BB962C8B-B14F-4D97-AF65-F5344CB8AC3E}">
        <p14:creationId xmlns:p14="http://schemas.microsoft.com/office/powerpoint/2010/main" val="1943776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6E798-CCEC-4D04-A938-2B9A13181CDA}"/>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Azure Resilient Services</a:t>
            </a:r>
          </a:p>
        </p:txBody>
      </p:sp>
      <p:pic>
        <p:nvPicPr>
          <p:cNvPr id="4" name="Picture 3">
            <a:extLst>
              <a:ext uri="{FF2B5EF4-FFF2-40B4-BE49-F238E27FC236}">
                <a16:creationId xmlns:a16="http://schemas.microsoft.com/office/drawing/2014/main" id="{90EF4CA9-1F58-44BF-B651-6394BA535BC2}"/>
              </a:ext>
            </a:extLst>
          </p:cNvPr>
          <p:cNvPicPr>
            <a:picLocks noChangeAspect="1"/>
          </p:cNvPicPr>
          <p:nvPr/>
        </p:nvPicPr>
        <p:blipFill>
          <a:blip r:embed="rId3"/>
          <a:stretch>
            <a:fillRect/>
          </a:stretch>
        </p:blipFill>
        <p:spPr>
          <a:xfrm>
            <a:off x="1130894" y="1504723"/>
            <a:ext cx="9082128" cy="5131401"/>
          </a:xfrm>
          <a:prstGeom prst="rect">
            <a:avLst/>
          </a:prstGeom>
        </p:spPr>
      </p:pic>
    </p:spTree>
    <p:extLst>
      <p:ext uri="{BB962C8B-B14F-4D97-AF65-F5344CB8AC3E}">
        <p14:creationId xmlns:p14="http://schemas.microsoft.com/office/powerpoint/2010/main" val="2959474900"/>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95947-411E-4C5A-AA71-D53AED0AF2E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Azure Resilient Services</a:t>
            </a:r>
            <a:endParaRPr lang="en-IN" dirty="0"/>
          </a:p>
        </p:txBody>
      </p:sp>
      <p:graphicFrame>
        <p:nvGraphicFramePr>
          <p:cNvPr id="4" name="Table 4">
            <a:extLst>
              <a:ext uri="{FF2B5EF4-FFF2-40B4-BE49-F238E27FC236}">
                <a16:creationId xmlns:a16="http://schemas.microsoft.com/office/drawing/2014/main" id="{BD5F974C-4BE0-4162-8339-4851F31792F6}"/>
              </a:ext>
            </a:extLst>
          </p:cNvPr>
          <p:cNvGraphicFramePr>
            <a:graphicFrameLocks noGrp="1"/>
          </p:cNvGraphicFramePr>
          <p:nvPr>
            <p:ph idx="1"/>
            <p:extLst>
              <p:ext uri="{D42A27DB-BD31-4B8C-83A1-F6EECF244321}">
                <p14:modId xmlns:p14="http://schemas.microsoft.com/office/powerpoint/2010/main" val="1265990469"/>
              </p:ext>
            </p:extLst>
          </p:nvPr>
        </p:nvGraphicFramePr>
        <p:xfrm>
          <a:off x="609600" y="1371599"/>
          <a:ext cx="11175999" cy="5071402"/>
        </p:xfrm>
        <a:graphic>
          <a:graphicData uri="http://schemas.openxmlformats.org/drawingml/2006/table">
            <a:tbl>
              <a:tblPr firstCol="1">
                <a:tableStyleId>{5C22544A-7EE6-4342-B048-85BDC9FD1C3A}</a:tableStyleId>
              </a:tblPr>
              <a:tblGrid>
                <a:gridCol w="3273521">
                  <a:extLst>
                    <a:ext uri="{9D8B030D-6E8A-4147-A177-3AD203B41FA5}">
                      <a16:colId xmlns:a16="http://schemas.microsoft.com/office/drawing/2014/main" val="2459410532"/>
                    </a:ext>
                  </a:extLst>
                </a:gridCol>
                <a:gridCol w="7902478">
                  <a:extLst>
                    <a:ext uri="{9D8B030D-6E8A-4147-A177-3AD203B41FA5}">
                      <a16:colId xmlns:a16="http://schemas.microsoft.com/office/drawing/2014/main" val="2104504853"/>
                    </a:ext>
                  </a:extLst>
                </a:gridCol>
              </a:tblGrid>
              <a:tr h="348427">
                <a:tc>
                  <a:txBody>
                    <a:bodyPr/>
                    <a:lstStyle/>
                    <a:p>
                      <a:r>
                        <a:rPr lang="en-IN" sz="1400"/>
                        <a:t>Availability Sets</a:t>
                      </a:r>
                    </a:p>
                  </a:txBody>
                  <a:tcPr marL="67677" marR="67677" marT="33838" marB="33838" anchor="ctr"/>
                </a:tc>
                <a:tc>
                  <a:txBody>
                    <a:bodyPr/>
                    <a:lstStyle/>
                    <a:p>
                      <a:r>
                        <a:rPr lang="en-IN" sz="1400"/>
                        <a:t>Ensure that the VMs deployed on Azure are distributed across multiple isolated hardware nodes in a cluster</a:t>
                      </a:r>
                    </a:p>
                  </a:txBody>
                  <a:tcPr marL="67677" marR="67677" marT="33838" marB="33838" anchor="ctr"/>
                </a:tc>
                <a:extLst>
                  <a:ext uri="{0D108BD9-81ED-4DB2-BD59-A6C34878D82A}">
                    <a16:rowId xmlns:a16="http://schemas.microsoft.com/office/drawing/2014/main" val="3951241177"/>
                  </a:ext>
                </a:extLst>
              </a:tr>
              <a:tr h="612949">
                <a:tc>
                  <a:txBody>
                    <a:bodyPr/>
                    <a:lstStyle/>
                    <a:p>
                      <a:r>
                        <a:rPr lang="en-IN" sz="1400"/>
                        <a:t>Availability Zones</a:t>
                      </a:r>
                    </a:p>
                  </a:txBody>
                  <a:tcPr marL="67677" marR="67677" marT="33838" marB="33838" anchor="ctr"/>
                </a:tc>
                <a:tc>
                  <a:txBody>
                    <a:bodyPr/>
                    <a:lstStyle/>
                    <a:p>
                      <a:r>
                        <a:rPr lang="en-IN" sz="1400"/>
                        <a:t>protect customers’ applications and data from datacenter failures across multiple physical locations within a region</a:t>
                      </a:r>
                    </a:p>
                  </a:txBody>
                  <a:tcPr marL="67677" marR="67677" marT="33838" marB="33838" anchor="ctr"/>
                </a:tc>
                <a:extLst>
                  <a:ext uri="{0D108BD9-81ED-4DB2-BD59-A6C34878D82A}">
                    <a16:rowId xmlns:a16="http://schemas.microsoft.com/office/drawing/2014/main" val="3291907231"/>
                  </a:ext>
                </a:extLst>
              </a:tr>
              <a:tr h="348427">
                <a:tc>
                  <a:txBody>
                    <a:bodyPr/>
                    <a:lstStyle/>
                    <a:p>
                      <a:r>
                        <a:rPr lang="en-IN" sz="1400"/>
                        <a:t>Azure Load Balancer</a:t>
                      </a:r>
                    </a:p>
                  </a:txBody>
                  <a:tcPr marL="67677" marR="67677" marT="33838" marB="33838" anchor="ctr"/>
                </a:tc>
                <a:tc>
                  <a:txBody>
                    <a:bodyPr/>
                    <a:lstStyle/>
                    <a:p>
                      <a:r>
                        <a:rPr lang="en-IN" sz="1400"/>
                        <a:t>distributes inbound traffic according to rules and health probes</a:t>
                      </a:r>
                    </a:p>
                  </a:txBody>
                  <a:tcPr marL="67677" marR="67677" marT="33838" marB="33838" anchor="ctr"/>
                </a:tc>
                <a:extLst>
                  <a:ext uri="{0D108BD9-81ED-4DB2-BD59-A6C34878D82A}">
                    <a16:rowId xmlns:a16="http://schemas.microsoft.com/office/drawing/2014/main" val="473493927"/>
                  </a:ext>
                </a:extLst>
              </a:tr>
              <a:tr h="612949">
                <a:tc>
                  <a:txBody>
                    <a:bodyPr/>
                    <a:lstStyle/>
                    <a:p>
                      <a:r>
                        <a:rPr lang="en-IN" sz="1400"/>
                        <a:t>Azure Traffic Manager</a:t>
                      </a:r>
                    </a:p>
                  </a:txBody>
                  <a:tcPr marL="67677" marR="67677" marT="33838" marB="33838" anchor="ctr"/>
                </a:tc>
                <a:tc>
                  <a:txBody>
                    <a:bodyPr/>
                    <a:lstStyle/>
                    <a:p>
                      <a:r>
                        <a:rPr lang="en-IN" sz="1400" dirty="0"/>
                        <a:t>enables optimal traffic distribution to services across global Azure regions, while providing high availability (HA) and responsiveness</a:t>
                      </a:r>
                    </a:p>
                  </a:txBody>
                  <a:tcPr marL="67677" marR="67677" marT="33838" marB="33838" anchor="ctr"/>
                </a:tc>
                <a:extLst>
                  <a:ext uri="{0D108BD9-81ED-4DB2-BD59-A6C34878D82A}">
                    <a16:rowId xmlns:a16="http://schemas.microsoft.com/office/drawing/2014/main" val="3937161836"/>
                  </a:ext>
                </a:extLst>
              </a:tr>
              <a:tr h="612949">
                <a:tc>
                  <a:txBody>
                    <a:bodyPr/>
                    <a:lstStyle/>
                    <a:p>
                      <a:r>
                        <a:rPr lang="en-IN" sz="1400"/>
                        <a:t>Azure Site Recovery</a:t>
                      </a:r>
                    </a:p>
                  </a:txBody>
                  <a:tcPr marL="67677" marR="67677" marT="33838" marB="33838" anchor="ctr"/>
                </a:tc>
                <a:tc>
                  <a:txBody>
                    <a:bodyPr/>
                    <a:lstStyle/>
                    <a:p>
                      <a:r>
                        <a:rPr lang="en-IN" sz="1400"/>
                        <a:t>replicates workloads from a primary VM to a secondary failover location—allowing for business continuity and disaster recovery needs</a:t>
                      </a:r>
                    </a:p>
                  </a:txBody>
                  <a:tcPr marL="67677" marR="67677" marT="33838" marB="33838" anchor="ctr"/>
                </a:tc>
                <a:extLst>
                  <a:ext uri="{0D108BD9-81ED-4DB2-BD59-A6C34878D82A}">
                    <a16:rowId xmlns:a16="http://schemas.microsoft.com/office/drawing/2014/main" val="3198018310"/>
                  </a:ext>
                </a:extLst>
              </a:tr>
              <a:tr h="612949">
                <a:tc>
                  <a:txBody>
                    <a:bodyPr/>
                    <a:lstStyle/>
                    <a:p>
                      <a:r>
                        <a:rPr lang="en-IN" sz="1400"/>
                        <a:t>Azure Backup</a:t>
                      </a:r>
                    </a:p>
                  </a:txBody>
                  <a:tcPr marL="67677" marR="67677" marT="33838" marB="33838" anchor="ctr"/>
                </a:tc>
                <a:tc>
                  <a:txBody>
                    <a:bodyPr/>
                    <a:lstStyle/>
                    <a:p>
                      <a:r>
                        <a:rPr lang="en-IN" sz="1400" dirty="0"/>
                        <a:t>serves as a general backup solution for cloud and on-premises workflows that run on VMs or physical servers</a:t>
                      </a:r>
                    </a:p>
                  </a:txBody>
                  <a:tcPr marL="67677" marR="67677" marT="33838" marB="33838" anchor="ctr"/>
                </a:tc>
                <a:extLst>
                  <a:ext uri="{0D108BD9-81ED-4DB2-BD59-A6C34878D82A}">
                    <a16:rowId xmlns:a16="http://schemas.microsoft.com/office/drawing/2014/main" val="2632332323"/>
                  </a:ext>
                </a:extLst>
              </a:tr>
              <a:tr h="612949">
                <a:tc>
                  <a:txBody>
                    <a:bodyPr/>
                    <a:lstStyle/>
                    <a:p>
                      <a:r>
                        <a:rPr lang="en-IN" sz="1400"/>
                        <a:t>Geo-replication for Azure SQL Database</a:t>
                      </a:r>
                    </a:p>
                  </a:txBody>
                  <a:tcPr marL="67677" marR="67677" marT="33838" marB="33838" anchor="ctr"/>
                </a:tc>
                <a:tc>
                  <a:txBody>
                    <a:bodyPr/>
                    <a:lstStyle/>
                    <a:p>
                      <a:r>
                        <a:rPr lang="en-IN" sz="1400"/>
                        <a:t>allows an application to perform quick disaster recovery of individual databases in case of a regional disaster or large-scale outage</a:t>
                      </a:r>
                    </a:p>
                  </a:txBody>
                  <a:tcPr marL="67677" marR="67677" marT="33838" marB="33838" anchor="ctr"/>
                </a:tc>
                <a:extLst>
                  <a:ext uri="{0D108BD9-81ED-4DB2-BD59-A6C34878D82A}">
                    <a16:rowId xmlns:a16="http://schemas.microsoft.com/office/drawing/2014/main" val="2418308788"/>
                  </a:ext>
                </a:extLst>
              </a:tr>
              <a:tr h="348427">
                <a:tc>
                  <a:txBody>
                    <a:bodyPr/>
                    <a:lstStyle/>
                    <a:p>
                      <a:r>
                        <a:rPr lang="en-IN" sz="1400"/>
                        <a:t>Locally redundant storage (LRS)</a:t>
                      </a:r>
                    </a:p>
                  </a:txBody>
                  <a:tcPr marL="67677" marR="67677" marT="33838" marB="33838" anchor="ctr"/>
                </a:tc>
                <a:tc>
                  <a:txBody>
                    <a:bodyPr/>
                    <a:lstStyle/>
                    <a:p>
                      <a:r>
                        <a:rPr lang="en-IN" sz="1400"/>
                        <a:t>provides object durability by replicating customer data to a storage scale unit</a:t>
                      </a:r>
                    </a:p>
                  </a:txBody>
                  <a:tcPr marL="67677" marR="67677" marT="33838" marB="33838" anchor="ctr"/>
                </a:tc>
                <a:extLst>
                  <a:ext uri="{0D108BD9-81ED-4DB2-BD59-A6C34878D82A}">
                    <a16:rowId xmlns:a16="http://schemas.microsoft.com/office/drawing/2014/main" val="3133182514"/>
                  </a:ext>
                </a:extLst>
              </a:tr>
              <a:tr h="348427">
                <a:tc>
                  <a:txBody>
                    <a:bodyPr/>
                    <a:lstStyle/>
                    <a:p>
                      <a:r>
                        <a:rPr lang="en-IN" sz="1400"/>
                        <a:t>Zone redundant storage (ZRS)</a:t>
                      </a:r>
                    </a:p>
                  </a:txBody>
                  <a:tcPr marL="67677" marR="67677" marT="33838" marB="33838" anchor="ctr"/>
                </a:tc>
                <a:tc>
                  <a:txBody>
                    <a:bodyPr/>
                    <a:lstStyle/>
                    <a:p>
                      <a:r>
                        <a:rPr lang="en-IN" sz="1400"/>
                        <a:t>replicates customer data synchronously across three storage clusters in a single region</a:t>
                      </a:r>
                    </a:p>
                  </a:txBody>
                  <a:tcPr marL="67677" marR="67677" marT="33838" marB="33838" anchor="ctr"/>
                </a:tc>
                <a:extLst>
                  <a:ext uri="{0D108BD9-81ED-4DB2-BD59-A6C34878D82A}">
                    <a16:rowId xmlns:a16="http://schemas.microsoft.com/office/drawing/2014/main" val="3663787633"/>
                  </a:ext>
                </a:extLst>
              </a:tr>
              <a:tr h="612949">
                <a:tc>
                  <a:txBody>
                    <a:bodyPr/>
                    <a:lstStyle/>
                    <a:p>
                      <a:r>
                        <a:rPr lang="en-IN" sz="1400"/>
                        <a:t>Geo-redundant storage (GRS)</a:t>
                      </a:r>
                    </a:p>
                  </a:txBody>
                  <a:tcPr marL="67677" marR="67677" marT="33838" marB="33838" anchor="ctr"/>
                </a:tc>
                <a:tc>
                  <a:txBody>
                    <a:bodyPr/>
                    <a:lstStyle/>
                    <a:p>
                      <a:r>
                        <a:rPr lang="en-IN" sz="1400" dirty="0"/>
                        <a:t>provides object durability over a given year by replicating customer data to a secondary region that’s hundreds of miles away from the primary region</a:t>
                      </a:r>
                    </a:p>
                  </a:txBody>
                  <a:tcPr marL="67677" marR="67677" marT="33838" marB="33838" anchor="ctr"/>
                </a:tc>
                <a:extLst>
                  <a:ext uri="{0D108BD9-81ED-4DB2-BD59-A6C34878D82A}">
                    <a16:rowId xmlns:a16="http://schemas.microsoft.com/office/drawing/2014/main" val="1258170971"/>
                  </a:ext>
                </a:extLst>
              </a:tr>
            </a:tbl>
          </a:graphicData>
        </a:graphic>
      </p:graphicFrame>
    </p:spTree>
    <p:extLst>
      <p:ext uri="{BB962C8B-B14F-4D97-AF65-F5344CB8AC3E}">
        <p14:creationId xmlns:p14="http://schemas.microsoft.com/office/powerpoint/2010/main" val="2584776871"/>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29F30-6AC3-4F5A-9FB6-A99720BDEA4C}"/>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Process to design Resilient Applications</a:t>
            </a:r>
          </a:p>
        </p:txBody>
      </p:sp>
      <p:graphicFrame>
        <p:nvGraphicFramePr>
          <p:cNvPr id="4" name="Content Placeholder 3">
            <a:extLst>
              <a:ext uri="{FF2B5EF4-FFF2-40B4-BE49-F238E27FC236}">
                <a16:creationId xmlns:a16="http://schemas.microsoft.com/office/drawing/2014/main" id="{73718696-03EE-4DE3-B251-C75A7EF0D0B8}"/>
              </a:ext>
            </a:extLst>
          </p:cNvPr>
          <p:cNvGraphicFramePr>
            <a:graphicFrameLocks noGrp="1"/>
          </p:cNvGraphicFramePr>
          <p:nvPr>
            <p:ph idx="1"/>
            <p:extLst>
              <p:ext uri="{D42A27DB-BD31-4B8C-83A1-F6EECF244321}">
                <p14:modId xmlns:p14="http://schemas.microsoft.com/office/powerpoint/2010/main" val="3046767470"/>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67175976"/>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DE71C-DC05-4F20-B551-EEC7F1CEEFE8}"/>
              </a:ext>
            </a:extLst>
          </p:cNvPr>
          <p:cNvSpPr>
            <a:spLocks noGrp="1"/>
          </p:cNvSpPr>
          <p:nvPr>
            <p:ph type="title"/>
          </p:nvPr>
        </p:nvSpPr>
        <p:spPr/>
        <p:txBody>
          <a:bodyPr/>
          <a:lstStyle/>
          <a:p>
            <a:pPr lvl="0"/>
            <a:r>
              <a:rPr lang="en-IN" dirty="0"/>
              <a:t>Define</a:t>
            </a:r>
            <a:br>
              <a:rPr lang="en-IN" dirty="0"/>
            </a:br>
            <a:r>
              <a:rPr lang="en-IN" dirty="0"/>
              <a:t>Resiliency Requirements</a:t>
            </a:r>
          </a:p>
        </p:txBody>
      </p:sp>
      <p:sp>
        <p:nvSpPr>
          <p:cNvPr id="3" name="Text Placeholder 2">
            <a:extLst>
              <a:ext uri="{FF2B5EF4-FFF2-40B4-BE49-F238E27FC236}">
                <a16:creationId xmlns:a16="http://schemas.microsoft.com/office/drawing/2014/main" id="{6581599B-9157-413C-BA27-99D5E4AF598E}"/>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728912853"/>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heme/theme1.xml><?xml version="1.0" encoding="utf-8"?>
<a:theme xmlns:a="http://schemas.openxmlformats.org/drawingml/2006/main" name="Theme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2" id="{95294B26-0988-4F86-BE7C-C8460B942CEA}" vid="{13F6A46C-EBD3-4559-95D1-8ED29C5E9CB9}"/>
    </a:ext>
  </a:extLst>
</a:theme>
</file>

<file path=ppt/theme/theme2.xml><?xml version="1.0" encoding="utf-8"?>
<a:theme xmlns:a="http://schemas.openxmlformats.org/drawingml/2006/main" name="2018">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8" id="{B0E980CD-A54D-4681-878C-2746A87DC6E5}" vid="{62E40539-E070-47D4-8381-3EBCC8F4FC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534CD9EEA51404C8F250A8C336B9143" ma:contentTypeVersion="14" ma:contentTypeDescription="Create a new document." ma:contentTypeScope="" ma:versionID="e9b1bf906e07984532ad8480ff3e32e2">
  <xsd:schema xmlns:xsd="http://www.w3.org/2001/XMLSchema" xmlns:xs="http://www.w3.org/2001/XMLSchema" xmlns:p="http://schemas.microsoft.com/office/2006/metadata/properties" xmlns:ns1="http://schemas.microsoft.com/sharepoint/v3" xmlns:ns2="7434af27-c30d-497e-8298-d3fbe9cb892b" xmlns:ns3="2fc0561f-df09-4bf9-921f-2d2cb9315b34" targetNamespace="http://schemas.microsoft.com/office/2006/metadata/properties" ma:root="true" ma:fieldsID="02a635849d31465dac53d148105564b2" ns1:_="" ns2:_="" ns3:_="">
    <xsd:import namespace="http://schemas.microsoft.com/sharepoint/v3"/>
    <xsd:import namespace="7434af27-c30d-497e-8298-d3fbe9cb892b"/>
    <xsd:import namespace="2fc0561f-df09-4bf9-921f-2d2cb9315b3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2:SharedWithUsers" minOccurs="0"/>
                <xsd:element ref="ns2:SharedWithDetails" minOccurs="0"/>
                <xsd:element ref="ns3:MediaServiceGenerationTime" minOccurs="0"/>
                <xsd:element ref="ns3:MediaServiceEventHashCode" minOccurs="0"/>
                <xsd:element ref="ns3:MediaServiceAutoKeyPoints" minOccurs="0"/>
                <xsd:element ref="ns3: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34af27-c30d-497e-8298-d3fbe9cb892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c0561f-df09-4bf9-921f-2d2cb9315b3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7434af27-c30d-497e-8298-d3fbe9cb892b">R23SAEMJNCU5-2088563554-25670</_dlc_DocId>
    <_dlc_DocIdUrl xmlns="7434af27-c30d-497e-8298-d3fbe9cb892b">
      <Url>https://hpcconsulting.sharepoint.com/sites/avg-coursesevents/_layouts/15/DocIdRedir.aspx?ID=R23SAEMJNCU5-2088563554-25670</Url>
      <Description>R23SAEMJNCU5-2088563554-25670</Description>
    </_dlc_DocIdUrl>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E751B83-530C-4088-BAAA-0284CB784855}">
  <ds:schemaRefs>
    <ds:schemaRef ds:uri="http://schemas.microsoft.com/sharepoint/v3/contenttype/forms"/>
  </ds:schemaRefs>
</ds:datastoreItem>
</file>

<file path=customXml/itemProps2.xml><?xml version="1.0" encoding="utf-8"?>
<ds:datastoreItem xmlns:ds="http://schemas.openxmlformats.org/officeDocument/2006/customXml" ds:itemID="{70C95C77-EAF8-45C0-A85B-751C98BA02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434af27-c30d-497e-8298-d3fbe9cb892b"/>
    <ds:schemaRef ds:uri="2fc0561f-df09-4bf9-921f-2d2cb9315b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D67E142-EFDF-4C80-874B-263F113C886C}">
  <ds:schemaRefs>
    <ds:schemaRef ds:uri="http://schemas.microsoft.com/sharepoint/events"/>
  </ds:schemaRefs>
</ds:datastoreItem>
</file>

<file path=customXml/itemProps4.xml><?xml version="1.0" encoding="utf-8"?>
<ds:datastoreItem xmlns:ds="http://schemas.openxmlformats.org/officeDocument/2006/customXml" ds:itemID="{5EB37DE3-2FEC-47EC-AF05-3500A30A4ACE}">
  <ds:schemaRefs>
    <ds:schemaRef ds:uri="http://schemas.microsoft.com/office/2006/metadata/properties"/>
    <ds:schemaRef ds:uri="http://schemas.microsoft.com/office/infopath/2007/PartnerControls"/>
    <ds:schemaRef ds:uri="7434af27-c30d-497e-8298-d3fbe9cb892b"/>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Theme2</Template>
  <TotalTime>2912</TotalTime>
  <Words>6503</Words>
  <Application>Microsoft Office PowerPoint</Application>
  <PresentationFormat>Widescreen</PresentationFormat>
  <Paragraphs>563</Paragraphs>
  <Slides>57</Slides>
  <Notes>33</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57</vt:i4>
      </vt:variant>
    </vt:vector>
  </HeadingPairs>
  <TitlesOfParts>
    <vt:vector size="76" baseType="lpstr">
      <vt:lpstr>Arial</vt:lpstr>
      <vt:lpstr>Calibri</vt:lpstr>
      <vt:lpstr>Calibri Light</vt:lpstr>
      <vt:lpstr>Mission Gothic Regular</vt:lpstr>
      <vt:lpstr>Segoe </vt:lpstr>
      <vt:lpstr>Segoe UI</vt:lpstr>
      <vt:lpstr>Segoe UI </vt:lpstr>
      <vt:lpstr>Segoe UI Light</vt:lpstr>
      <vt:lpstr>Segoe UI Semibold</vt:lpstr>
      <vt:lpstr>Segoe UI Semilight</vt:lpstr>
      <vt:lpstr>Trebuchet MS</vt:lpstr>
      <vt:lpstr>Webdings</vt:lpstr>
      <vt:lpstr>Wingdings</vt:lpstr>
      <vt:lpstr>Theme2</vt:lpstr>
      <vt:lpstr>2018</vt:lpstr>
      <vt:lpstr>Custom Design</vt:lpstr>
      <vt:lpstr>1_Custom Design</vt:lpstr>
      <vt:lpstr>1_Office Theme</vt:lpstr>
      <vt:lpstr>think-cell Slide</vt:lpstr>
      <vt:lpstr>Designing resilient applications for cloud</vt:lpstr>
      <vt:lpstr>Mihai Tătăran</vt:lpstr>
      <vt:lpstr>Agenda</vt:lpstr>
      <vt:lpstr>What is Resilience?</vt:lpstr>
      <vt:lpstr>In the cloud - Building systems that survive failure is a  Shared Responsibility</vt:lpstr>
      <vt:lpstr>Azure Resilient Services</vt:lpstr>
      <vt:lpstr>Azure Resilient Services</vt:lpstr>
      <vt:lpstr>Process to design Resilient Applications</vt:lpstr>
      <vt:lpstr>Define Resiliency Requirements</vt:lpstr>
      <vt:lpstr>Metrics to measure resilience</vt:lpstr>
      <vt:lpstr>Understand Application Availability requirements</vt:lpstr>
      <vt:lpstr>Understand SLAs SLA describes commitment regarding uptime and connectivity</vt:lpstr>
      <vt:lpstr>Composite SLAs</vt:lpstr>
      <vt:lpstr>Identify application resiliency requirements</vt:lpstr>
      <vt:lpstr>Multi-tenancy</vt:lpstr>
      <vt:lpstr>Design for Resilience</vt:lpstr>
      <vt:lpstr>Types of Application failures</vt:lpstr>
      <vt:lpstr>Failure Mode Analysis</vt:lpstr>
      <vt:lpstr>Steps for conducting a FMA</vt:lpstr>
      <vt:lpstr>Implement Resiliency Strategies</vt:lpstr>
      <vt:lpstr>Resiliency Strategies for different Failure Types</vt:lpstr>
      <vt:lpstr>PowerPoint Presentation</vt:lpstr>
      <vt:lpstr>Design Patterns for Resiliency</vt:lpstr>
      <vt:lpstr>Retry pattern</vt:lpstr>
      <vt:lpstr>Circuit breaker</vt:lpstr>
      <vt:lpstr>Competing consumers / Queue-based load leveling</vt:lpstr>
      <vt:lpstr>Priority Queue</vt:lpstr>
      <vt:lpstr>Throttling </vt:lpstr>
      <vt:lpstr>Develop a disaster recovery strategy</vt:lpstr>
      <vt:lpstr>Reliability in performance and scaling</vt:lpstr>
      <vt:lpstr>Scaling</vt:lpstr>
      <vt:lpstr>Optimize network performance</vt:lpstr>
      <vt:lpstr>Optimize storage performance</vt:lpstr>
      <vt:lpstr>Identify performance bottlenecks</vt:lpstr>
      <vt:lpstr>Discussion (1)</vt:lpstr>
      <vt:lpstr>Discussion (2)</vt:lpstr>
      <vt:lpstr>Testing for Resiliency</vt:lpstr>
      <vt:lpstr>Testing for Resiliency</vt:lpstr>
      <vt:lpstr>Testing for Resiliency</vt:lpstr>
      <vt:lpstr>Deploy using a reliable process</vt:lpstr>
      <vt:lpstr>Resilient deployment</vt:lpstr>
      <vt:lpstr>Resilient deployment concepts</vt:lpstr>
      <vt:lpstr>Application updates</vt:lpstr>
      <vt:lpstr>Automation</vt:lpstr>
      <vt:lpstr>Design, build, and orchestrate with modern practices</vt:lpstr>
      <vt:lpstr>Discussion (1)</vt:lpstr>
      <vt:lpstr>Monitor for failure</vt:lpstr>
      <vt:lpstr>Monitoring and diagnostics</vt:lpstr>
      <vt:lpstr>Monitoring tips and tricks</vt:lpstr>
      <vt:lpstr>Monitoring and analytics</vt:lpstr>
      <vt:lpstr>Azure Dashboard for Monitoring</vt:lpstr>
      <vt:lpstr>Azure Service Health</vt:lpstr>
      <vt:lpstr>Manual Response to failures</vt:lpstr>
      <vt:lpstr>Manual failure responses</vt:lpstr>
      <vt:lpstr>Summary</vt:lpstr>
      <vt:lpstr>Discus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ing resilient applications for cloud</dc:title>
  <dc:creator>Ashvini Shahane</dc:creator>
  <cp:lastModifiedBy>Mihai Tataran</cp:lastModifiedBy>
  <cp:revision>24</cp:revision>
  <dcterms:created xsi:type="dcterms:W3CDTF">2021-06-05T06:45:48Z</dcterms:created>
  <dcterms:modified xsi:type="dcterms:W3CDTF">2021-06-09T18:5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34CD9EEA51404C8F250A8C336B9143</vt:lpwstr>
  </property>
  <property fmtid="{D5CDD505-2E9C-101B-9397-08002B2CF9AE}" pid="3" name="_dlc_DocIdItemGuid">
    <vt:lpwstr>61f843da-a067-4d44-8835-ec91e9540089</vt:lpwstr>
  </property>
</Properties>
</file>